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1"/>
  </p:notesMasterIdLst>
  <p:sldIdLst>
    <p:sldId id="256" r:id="rId2"/>
    <p:sldId id="342" r:id="rId3"/>
    <p:sldId id="351" r:id="rId4"/>
    <p:sldId id="349" r:id="rId5"/>
    <p:sldId id="337" r:id="rId6"/>
    <p:sldId id="343" r:id="rId7"/>
    <p:sldId id="354" r:id="rId8"/>
    <p:sldId id="356" r:id="rId9"/>
    <p:sldId id="355" r:id="rId10"/>
  </p:sldIdLst>
  <p:sldSz cx="9144000" cy="6858000" type="screen4x3"/>
  <p:notesSz cx="7315200" cy="9601200"/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napToObjects="1">
      <p:cViewPr varScale="1">
        <p:scale>
          <a:sx n="66" d="100"/>
          <a:sy n="66" d="100"/>
        </p:scale>
        <p:origin x="-1422" y="-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43" d="100"/>
          <a:sy n="43" d="100"/>
        </p:scale>
        <p:origin x="-2026" y="-79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47C1448C-E773-4542-8F53-CF1B6EC1C902}" type="datetimeFigureOut">
              <a:rPr lang="de-DE" smtClean="0"/>
              <a:t>07.09.2015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A943C595-D4B2-4D68-AFEC-E678C2D7B42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11269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NFV, SDN, </a:t>
            </a:r>
            <a:r>
              <a:rPr lang="de-DE" dirty="0" err="1" smtClean="0"/>
              <a:t>Industial</a:t>
            </a:r>
            <a:r>
              <a:rPr lang="de-DE" baseline="0" dirty="0" smtClean="0"/>
              <a:t> Internet, Smart Cities, …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43C595-D4B2-4D68-AFEC-E678C2D7B425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47553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Home</a:t>
            </a:r>
            <a:r>
              <a:rPr lang="de-DE" baseline="0" dirty="0" smtClean="0"/>
              <a:t> Network, </a:t>
            </a:r>
            <a:r>
              <a:rPr lang="de-DE" baseline="0" dirty="0" err="1" smtClean="0"/>
              <a:t>mos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dvanced</a:t>
            </a:r>
            <a:r>
              <a:rPr lang="de-DE" baseline="0" dirty="0" smtClean="0"/>
              <a:t> and </a:t>
            </a:r>
            <a:r>
              <a:rPr lang="de-DE" baseline="0" dirty="0" err="1" smtClean="0"/>
              <a:t>discuss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environmen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ith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omplex</a:t>
            </a:r>
            <a:r>
              <a:rPr lang="de-DE" baseline="0" dirty="0" smtClean="0"/>
              <a:t>/</a:t>
            </a:r>
            <a:r>
              <a:rPr lang="de-DE" baseline="0" dirty="0" err="1" smtClean="0"/>
              <a:t>multi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ervice</a:t>
            </a:r>
            <a:r>
              <a:rPr lang="de-DE" baseline="0" dirty="0" smtClean="0"/>
              <a:t> M2M </a:t>
            </a:r>
            <a:r>
              <a:rPr lang="de-DE" baseline="0" dirty="0" err="1" smtClean="0"/>
              <a:t>scenario</a:t>
            </a:r>
            <a:r>
              <a:rPr lang="de-DE" baseline="0" dirty="0" smtClean="0"/>
              <a:t> </a:t>
            </a:r>
            <a:r>
              <a:rPr lang="de-DE" baseline="0" dirty="0" smtClean="0">
                <a:sym typeface="Wingdings" panose="05000000000000000000" pitchFamily="2" charset="2"/>
              </a:rPr>
              <a:t> </a:t>
            </a:r>
            <a:r>
              <a:rPr lang="de-DE" baseline="0" dirty="0" err="1" smtClean="0">
                <a:sym typeface="Wingdings" panose="05000000000000000000" pitchFamily="2" charset="2"/>
              </a:rPr>
              <a:t>middle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to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big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size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gateway</a:t>
            </a:r>
            <a:r>
              <a:rPr lang="de-DE" baseline="0" dirty="0" smtClean="0">
                <a:sym typeface="Wingdings" panose="05000000000000000000" pitchFamily="2" charset="2"/>
              </a:rPr>
              <a:t>  </a:t>
            </a:r>
            <a:r>
              <a:rPr lang="de-DE" baseline="0" dirty="0" err="1" smtClean="0">
                <a:sym typeface="Wingdings" panose="05000000000000000000" pitchFamily="2" charset="2"/>
              </a:rPr>
              <a:t>analogies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to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other</a:t>
            </a:r>
            <a:r>
              <a:rPr lang="de-DE" baseline="0" dirty="0" smtClean="0">
                <a:sym typeface="Wingdings" panose="05000000000000000000" pitchFamily="2" charset="2"/>
              </a:rPr>
              <a:t> </a:t>
            </a:r>
            <a:r>
              <a:rPr lang="de-DE" baseline="0" dirty="0" err="1" smtClean="0">
                <a:sym typeface="Wingdings" panose="05000000000000000000" pitchFamily="2" charset="2"/>
              </a:rPr>
              <a:t>verticals</a:t>
            </a:r>
            <a:r>
              <a:rPr lang="de-DE" baseline="0" dirty="0" smtClean="0">
                <a:sym typeface="Wingdings" panose="05000000000000000000" pitchFamily="2" charset="2"/>
              </a:rPr>
              <a:t> (e.g. </a:t>
            </a:r>
            <a:r>
              <a:rPr lang="de-DE" baseline="0" dirty="0" err="1" smtClean="0">
                <a:sym typeface="Wingdings" panose="05000000000000000000" pitchFamily="2" charset="2"/>
              </a:rPr>
              <a:t>industrie</a:t>
            </a:r>
            <a:r>
              <a:rPr lang="de-DE" baseline="0" dirty="0" smtClean="0">
                <a:sym typeface="Wingdings" panose="05000000000000000000" pitchFamily="2" charset="2"/>
              </a:rPr>
              <a:t>, </a:t>
            </a:r>
            <a:r>
              <a:rPr lang="de-DE" baseline="0" dirty="0" err="1" smtClean="0">
                <a:sym typeface="Wingdings" panose="05000000000000000000" pitchFamily="2" charset="2"/>
              </a:rPr>
              <a:t>shopfloor</a:t>
            </a:r>
            <a:r>
              <a:rPr lang="de-DE" baseline="0" dirty="0" smtClean="0">
                <a:sym typeface="Wingdings" panose="05000000000000000000" pitchFamily="2" charset="2"/>
              </a:rPr>
              <a:t>), </a:t>
            </a:r>
            <a:r>
              <a:rPr lang="de-DE" baseline="0" dirty="0" err="1" smtClean="0">
                <a:sym typeface="Wingdings" panose="05000000000000000000" pitchFamily="2" charset="2"/>
              </a:rPr>
              <a:t>relevance</a:t>
            </a:r>
            <a:r>
              <a:rPr lang="de-DE" baseline="0" dirty="0" smtClean="0">
                <a:sym typeface="Wingdings" panose="05000000000000000000" pitchFamily="2" charset="2"/>
              </a:rPr>
              <a:t> ins Smart City </a:t>
            </a:r>
            <a:r>
              <a:rPr lang="de-DE" baseline="0" dirty="0" err="1" smtClean="0">
                <a:sym typeface="Wingdings" panose="05000000000000000000" pitchFamily="2" charset="2"/>
              </a:rPr>
              <a:t>concepta</a:t>
            </a:r>
            <a:r>
              <a:rPr lang="de-DE" baseline="0" dirty="0" smtClean="0">
                <a:sym typeface="Wingdings" panose="05000000000000000000" pitchFamily="2" charset="2"/>
              </a:rPr>
              <a:t>.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43C595-D4B2-4D68-AFEC-E678C2D7B425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602067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bgerundetes Rechteck 8"/>
          <p:cNvSpPr/>
          <p:nvPr userDrawn="1"/>
        </p:nvSpPr>
        <p:spPr>
          <a:xfrm>
            <a:off x="2" y="0"/>
            <a:ext cx="9143999" cy="6858000"/>
          </a:xfrm>
          <a:prstGeom prst="roundRect">
            <a:avLst>
              <a:gd name="adj" fmla="val 1613"/>
            </a:avLst>
          </a:prstGeom>
          <a:solidFill>
            <a:schemeClr val="tx2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596286"/>
            <a:ext cx="7772400" cy="1470025"/>
          </a:xfrm>
        </p:spPr>
        <p:txBody>
          <a:bodyPr/>
          <a:lstStyle>
            <a:lvl1pPr>
              <a:defRPr cap="all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2352060"/>
            <a:ext cx="6400800" cy="1752600"/>
          </a:xfrm>
        </p:spPr>
        <p:txBody>
          <a:bodyPr/>
          <a:lstStyle>
            <a:lvl1pPr marL="0" indent="0" algn="ctr">
              <a:buNone/>
              <a:defRPr cap="all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Master-Untertitelformat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9B8615-4FB8-5046-9A04-F7FA71D771F9}" type="datetimeFigureOut">
              <a:rPr lang="de-DE" smtClean="0"/>
              <a:t>07.09.20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457202" y="6356351"/>
            <a:ext cx="677159" cy="365125"/>
          </a:xfrm>
          <a:prstGeom prst="rect">
            <a:avLst/>
          </a:prstGeom>
        </p:spPr>
        <p:txBody>
          <a:bodyPr/>
          <a:lstStyle/>
          <a:p>
            <a:fld id="{9FCE22C5-8C93-DF42-8EC9-66A39296DD14}" type="slidenum">
              <a:rPr lang="de-DE" smtClean="0"/>
              <a:t>‹#›</a:t>
            </a:fld>
            <a:endParaRPr lang="de-DE"/>
          </a:p>
        </p:txBody>
      </p:sp>
      <p:pic>
        <p:nvPicPr>
          <p:cNvPr id="7" name="Bild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0584" y="4561417"/>
            <a:ext cx="9168351" cy="2307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47678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457202" y="6356351"/>
            <a:ext cx="677159" cy="365125"/>
          </a:xfrm>
          <a:prstGeom prst="rect">
            <a:avLst/>
          </a:prstGeom>
        </p:spPr>
        <p:txBody>
          <a:bodyPr/>
          <a:lstStyle/>
          <a:p>
            <a:fld id="{9FCE22C5-8C93-DF42-8EC9-66A39296DD1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620327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29664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bgerundetes Rechteck 6"/>
          <p:cNvSpPr/>
          <p:nvPr userDrawn="1"/>
        </p:nvSpPr>
        <p:spPr>
          <a:xfrm>
            <a:off x="2" y="0"/>
            <a:ext cx="9143999" cy="6858000"/>
          </a:xfrm>
          <a:prstGeom prst="roundRect">
            <a:avLst>
              <a:gd name="adj" fmla="val 1613"/>
            </a:avLst>
          </a:prstGeom>
          <a:solidFill>
            <a:schemeClr val="tx2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8" name="Abgerundetes Rechteck 7"/>
          <p:cNvSpPr/>
          <p:nvPr userDrawn="1"/>
        </p:nvSpPr>
        <p:spPr>
          <a:xfrm>
            <a:off x="142488" y="123900"/>
            <a:ext cx="8871415" cy="6585182"/>
          </a:xfrm>
          <a:prstGeom prst="roundRect">
            <a:avLst>
              <a:gd name="adj" fmla="val 1613"/>
            </a:avLst>
          </a:prstGeom>
          <a:solidFill>
            <a:schemeClr val="bg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tIns="0" bIns="0" anchor="t" anchorCtr="0">
            <a:normAutofit/>
          </a:bodyPr>
          <a:lstStyle>
            <a:lvl1pPr algn="l">
              <a:defRPr sz="4000" b="1" i="0" cap="all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Tit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dirty="0" err="1" smtClean="0"/>
              <a:t>Mastertext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124200" y="6709083"/>
            <a:ext cx="2895600" cy="152053"/>
          </a:xfrm>
        </p:spPr>
        <p:txBody>
          <a:bodyPr tIns="0" bIns="36000" anchor="ctr" anchorCtr="0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9" name="Bild 8"/>
          <p:cNvPicPr>
            <a:picLocks noChangeAspect="1"/>
          </p:cNvPicPr>
          <p:nvPr userDrawn="1"/>
        </p:nvPicPr>
        <p:blipFill rotWithShape="1">
          <a:blip r:embed="rId2"/>
          <a:srcRect l="19328" t="28583" r="18687" b="29512"/>
          <a:stretch/>
        </p:blipFill>
        <p:spPr>
          <a:xfrm>
            <a:off x="8084635" y="6221955"/>
            <a:ext cx="842536" cy="415074"/>
          </a:xfrm>
          <a:prstGeom prst="rect">
            <a:avLst/>
          </a:prstGeom>
        </p:spPr>
      </p:pic>
      <p:sp>
        <p:nvSpPr>
          <p:cNvPr id="10" name="Foliennummernplatzhalter 5"/>
          <p:cNvSpPr txBox="1">
            <a:spLocks/>
          </p:cNvSpPr>
          <p:nvPr userDrawn="1"/>
        </p:nvSpPr>
        <p:spPr>
          <a:xfrm>
            <a:off x="70694" y="6221956"/>
            <a:ext cx="677159" cy="4995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457200" rtl="0" eaLnBrk="1" latinLnBrk="0" hangingPunct="1"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FCE22C5-8C93-DF42-8EC9-66A39296DD14}" type="slidenum">
              <a:rPr lang="en-US" sz="2000" b="1" smtClean="0"/>
              <a:pPr/>
              <a:t>‹#›</a:t>
            </a:fld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17888966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5"/>
          <p:cNvSpPr txBox="1">
            <a:spLocks/>
          </p:cNvSpPr>
          <p:nvPr userDrawn="1"/>
        </p:nvSpPr>
        <p:spPr>
          <a:xfrm>
            <a:off x="70694" y="6221956"/>
            <a:ext cx="677159" cy="4995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457200" rtl="0" eaLnBrk="1" latinLnBrk="0" hangingPunct="1"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FCE22C5-8C93-DF42-8EC9-66A39296DD14}" type="slidenum">
              <a:rPr lang="en-US" sz="2000" b="1" smtClean="0"/>
              <a:pPr/>
              <a:t>‹#›</a:t>
            </a:fld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21226388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Foliennummernplatzhalter 5"/>
          <p:cNvSpPr txBox="1">
            <a:spLocks/>
          </p:cNvSpPr>
          <p:nvPr userDrawn="1"/>
        </p:nvSpPr>
        <p:spPr>
          <a:xfrm>
            <a:off x="70694" y="6221956"/>
            <a:ext cx="677159" cy="4995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457200" rtl="0" eaLnBrk="1" latinLnBrk="0" hangingPunct="1"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FCE22C5-8C93-DF42-8EC9-66A39296DD14}" type="slidenum">
              <a:rPr lang="en-US" sz="2000" b="1" smtClean="0"/>
              <a:pPr/>
              <a:t>‹#›</a:t>
            </a:fld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8226958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Foliennummernplatzhalter 5"/>
          <p:cNvSpPr txBox="1">
            <a:spLocks/>
          </p:cNvSpPr>
          <p:nvPr userDrawn="1"/>
        </p:nvSpPr>
        <p:spPr>
          <a:xfrm>
            <a:off x="70694" y="6221956"/>
            <a:ext cx="677159" cy="4995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457200" rtl="0" eaLnBrk="1" latinLnBrk="0" hangingPunct="1"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FCE22C5-8C93-DF42-8EC9-66A39296DD14}" type="slidenum">
              <a:rPr lang="en-US" sz="2000" b="1" smtClean="0"/>
              <a:pPr/>
              <a:t>‹#›</a:t>
            </a:fld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17603228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 txBox="1">
            <a:spLocks/>
          </p:cNvSpPr>
          <p:nvPr userDrawn="1"/>
        </p:nvSpPr>
        <p:spPr>
          <a:xfrm>
            <a:off x="70694" y="6221956"/>
            <a:ext cx="677159" cy="4995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457200" rtl="0" eaLnBrk="1" latinLnBrk="0" hangingPunct="1"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FCE22C5-8C93-DF42-8EC9-66A39296DD14}" type="slidenum">
              <a:rPr lang="en-US" sz="2000" b="1" smtClean="0"/>
              <a:pPr/>
              <a:t>‹#›</a:t>
            </a:fld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27721553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5"/>
          <p:cNvSpPr txBox="1">
            <a:spLocks/>
          </p:cNvSpPr>
          <p:nvPr userDrawn="1"/>
        </p:nvSpPr>
        <p:spPr>
          <a:xfrm>
            <a:off x="70694" y="6221956"/>
            <a:ext cx="677159" cy="4995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457200" rtl="0" eaLnBrk="1" latinLnBrk="0" hangingPunct="1"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FCE22C5-8C93-DF42-8EC9-66A39296DD14}" type="slidenum">
              <a:rPr lang="en-US" sz="2000" b="1" smtClean="0"/>
              <a:pPr/>
              <a:t>‹#›</a:t>
            </a:fld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40806084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1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Foliennummernplatzhalter 5"/>
          <p:cNvSpPr txBox="1">
            <a:spLocks/>
          </p:cNvSpPr>
          <p:nvPr userDrawn="1"/>
        </p:nvSpPr>
        <p:spPr>
          <a:xfrm>
            <a:off x="70694" y="6221956"/>
            <a:ext cx="677159" cy="4995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457200" rtl="0" eaLnBrk="1" latinLnBrk="0" hangingPunct="1"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FCE22C5-8C93-DF42-8EC9-66A39296DD14}" type="slidenum">
              <a:rPr lang="en-US" sz="2000" b="1" smtClean="0"/>
              <a:pPr/>
              <a:t>‹#›</a:t>
            </a:fld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40527077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Foliennummernplatzhalter 5"/>
          <p:cNvSpPr txBox="1">
            <a:spLocks/>
          </p:cNvSpPr>
          <p:nvPr userDrawn="1"/>
        </p:nvSpPr>
        <p:spPr>
          <a:xfrm>
            <a:off x="70694" y="6221956"/>
            <a:ext cx="677159" cy="4995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457200" rtl="0" eaLnBrk="1" latinLnBrk="0" hangingPunct="1"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FCE22C5-8C93-DF42-8EC9-66A39296DD14}" type="slidenum">
              <a:rPr lang="en-US" sz="2000" b="1" smtClean="0"/>
              <a:pPr/>
              <a:t>‹#›</a:t>
            </a:fld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33190979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 smtClean="0"/>
              <a:t>Mastertitelformat bearbeiten</a:t>
            </a:r>
            <a:endParaRPr lang="en-US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Mastertextformat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  <a:endParaRPr lang="en-US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725105" y="6356351"/>
            <a:ext cx="129147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9B8615-4FB8-5046-9A04-F7FA71D771F9}" type="datetimeFigureOut">
              <a:rPr lang="en-US" noProof="0" smtClean="0"/>
              <a:t>9/7/2015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7" name="Foliennummernplatzhalter 5"/>
          <p:cNvSpPr txBox="1">
            <a:spLocks/>
          </p:cNvSpPr>
          <p:nvPr userDrawn="1"/>
        </p:nvSpPr>
        <p:spPr>
          <a:xfrm>
            <a:off x="70694" y="6221956"/>
            <a:ext cx="677159" cy="4995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457200" rtl="0" eaLnBrk="1" latinLnBrk="0" hangingPunct="1"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FCE22C5-8C93-DF42-8EC9-66A39296DD14}" type="slidenum">
              <a:rPr lang="en-US" sz="2000" b="1" smtClean="0"/>
              <a:pPr/>
              <a:t>‹#›</a:t>
            </a:fld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591707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13" Type="http://schemas.openxmlformats.org/officeDocument/2006/relationships/image" Target="../media/image13.jpeg"/><Relationship Id="rId18" Type="http://schemas.openxmlformats.org/officeDocument/2006/relationships/image" Target="../media/image18.png"/><Relationship Id="rId3" Type="http://schemas.openxmlformats.org/officeDocument/2006/relationships/slideLayout" Target="../slideLayouts/slideLayout2.xml"/><Relationship Id="rId21" Type="http://schemas.openxmlformats.org/officeDocument/2006/relationships/image" Target="../media/image21.png"/><Relationship Id="rId7" Type="http://schemas.openxmlformats.org/officeDocument/2006/relationships/image" Target="../media/image7.png"/><Relationship Id="rId12" Type="http://schemas.openxmlformats.org/officeDocument/2006/relationships/image" Target="../media/image12.jpeg"/><Relationship Id="rId17" Type="http://schemas.openxmlformats.org/officeDocument/2006/relationships/image" Target="../media/image17.jpeg"/><Relationship Id="rId2" Type="http://schemas.openxmlformats.org/officeDocument/2006/relationships/tags" Target="../tags/tag1.xml"/><Relationship Id="rId16" Type="http://schemas.openxmlformats.org/officeDocument/2006/relationships/image" Target="../media/image16.jpeg"/><Relationship Id="rId20" Type="http://schemas.openxmlformats.org/officeDocument/2006/relationships/image" Target="../media/image20.jpeg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png"/><Relationship Id="rId11" Type="http://schemas.openxmlformats.org/officeDocument/2006/relationships/image" Target="../media/image11.jpeg"/><Relationship Id="rId24" Type="http://schemas.openxmlformats.org/officeDocument/2006/relationships/image" Target="../media/image24.gif"/><Relationship Id="rId5" Type="http://schemas.openxmlformats.org/officeDocument/2006/relationships/image" Target="../media/image5.emf"/><Relationship Id="rId15" Type="http://schemas.openxmlformats.org/officeDocument/2006/relationships/image" Target="../media/image15.png"/><Relationship Id="rId23" Type="http://schemas.openxmlformats.org/officeDocument/2006/relationships/image" Target="../media/image23.jpeg"/><Relationship Id="rId10" Type="http://schemas.openxmlformats.org/officeDocument/2006/relationships/image" Target="../media/image10.png"/><Relationship Id="rId19" Type="http://schemas.openxmlformats.org/officeDocument/2006/relationships/image" Target="../media/image19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9.jpeg"/><Relationship Id="rId14" Type="http://schemas.openxmlformats.org/officeDocument/2006/relationships/image" Target="../media/image14.jpeg"/><Relationship Id="rId22" Type="http://schemas.openxmlformats.org/officeDocument/2006/relationships/image" Target="../media/image22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GB" sz="3600" b="1" dirty="0" smtClean="0"/>
              <a:t>HGI Message to oneM2M</a:t>
            </a:r>
            <a:br>
              <a:rPr lang="en-GB" sz="3600" b="1" dirty="0" smtClean="0"/>
            </a:br>
            <a:r>
              <a:rPr lang="en-GB" sz="3600" b="1" dirty="0" smtClean="0"/>
              <a:t>Technical Plenary</a:t>
            </a:r>
            <a:endParaRPr lang="en-US" sz="3100" i="1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" y="2352060"/>
            <a:ext cx="9143999" cy="1752600"/>
          </a:xfrm>
        </p:spPr>
        <p:txBody>
          <a:bodyPr>
            <a:normAutofit fontScale="70000" lnSpcReduction="20000"/>
          </a:bodyPr>
          <a:lstStyle/>
          <a:p>
            <a:endParaRPr lang="en-US" dirty="0" smtClean="0"/>
          </a:p>
          <a:p>
            <a:r>
              <a:rPr lang="en-US" dirty="0"/>
              <a:t>www.homegateway.org</a:t>
            </a:r>
          </a:p>
          <a:p>
            <a:r>
              <a:rPr lang="en-US" sz="2000" dirty="0" smtClean="0"/>
              <a:t>Hans Werner </a:t>
            </a:r>
            <a:r>
              <a:rPr lang="en-US" sz="2000" dirty="0" err="1" smtClean="0"/>
              <a:t>bitzer</a:t>
            </a:r>
            <a:r>
              <a:rPr lang="en-US" sz="2000" dirty="0" smtClean="0"/>
              <a:t>, deutsche </a:t>
            </a:r>
            <a:r>
              <a:rPr lang="en-US" sz="2000" dirty="0" err="1" smtClean="0"/>
              <a:t>telekom</a:t>
            </a:r>
            <a:endParaRPr lang="en-US" sz="2000" dirty="0" smtClean="0"/>
          </a:p>
          <a:p>
            <a:r>
              <a:rPr lang="de-DE" sz="2000" dirty="0" err="1" smtClean="0"/>
              <a:t>Vice</a:t>
            </a:r>
            <a:r>
              <a:rPr lang="de-DE" sz="2000" dirty="0" smtClean="0"/>
              <a:t> </a:t>
            </a:r>
            <a:r>
              <a:rPr lang="de-DE" sz="2000" dirty="0" err="1" smtClean="0"/>
              <a:t>Chair</a:t>
            </a:r>
            <a:r>
              <a:rPr lang="de-DE" sz="2000" dirty="0" smtClean="0"/>
              <a:t>, </a:t>
            </a:r>
            <a:r>
              <a:rPr lang="de-DE" sz="2000" dirty="0" err="1" smtClean="0"/>
              <a:t>Hgi</a:t>
            </a:r>
            <a:endParaRPr lang="de-DE" sz="2000" dirty="0" smtClean="0"/>
          </a:p>
          <a:p>
            <a:endParaRPr lang="en-US" sz="2000" dirty="0"/>
          </a:p>
          <a:p>
            <a:r>
              <a:rPr lang="en-US" sz="2600" dirty="0" smtClean="0"/>
              <a:t>Onem2m Tp#19, </a:t>
            </a:r>
            <a:r>
              <a:rPr lang="en-US" sz="2600" dirty="0" err="1" smtClean="0"/>
              <a:t>sophia</a:t>
            </a:r>
            <a:r>
              <a:rPr lang="en-US" sz="2600" dirty="0" smtClean="0"/>
              <a:t> </a:t>
            </a:r>
            <a:r>
              <a:rPr lang="en-US" sz="2600" dirty="0" err="1" smtClean="0"/>
              <a:t>antipols</a:t>
            </a:r>
            <a:r>
              <a:rPr lang="en-US" sz="2600" dirty="0" smtClean="0"/>
              <a:t>, </a:t>
            </a:r>
            <a:r>
              <a:rPr lang="en-US" sz="2600" dirty="0" err="1" smtClean="0"/>
              <a:t>france</a:t>
            </a:r>
            <a:endParaRPr lang="en-US" sz="2600" dirty="0" smtClean="0"/>
          </a:p>
          <a:p>
            <a:endParaRPr lang="en-US" dirty="0" smtClean="0"/>
          </a:p>
          <a:p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3810680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itel 1"/>
          <p:cNvSpPr>
            <a:spLocks noGrp="1"/>
          </p:cNvSpPr>
          <p:nvPr>
            <p:ph type="title"/>
          </p:nvPr>
        </p:nvSpPr>
        <p:spPr>
          <a:xfrm>
            <a:off x="457200" y="404814"/>
            <a:ext cx="8229600" cy="623887"/>
          </a:xfrm>
        </p:spPr>
        <p:txBody>
          <a:bodyPr>
            <a:normAutofit/>
          </a:bodyPr>
          <a:lstStyle/>
          <a:p>
            <a:r>
              <a:rPr lang="en-US" sz="3600" b="0" dirty="0"/>
              <a:t>“</a:t>
            </a:r>
            <a:r>
              <a:rPr lang="en-US" sz="3600" dirty="0"/>
              <a:t>HGI to conclude its work by 2016” </a:t>
            </a:r>
            <a:endParaRPr lang="de-DE" sz="36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US" sz="2000" dirty="0" smtClean="0"/>
              <a:t>10 Years of collaborative work on business perspectives, guidelines, requirements &amp; technical specifications, testing</a:t>
            </a:r>
          </a:p>
          <a:p>
            <a:r>
              <a:rPr lang="en-US" sz="2000" dirty="0" smtClean="0"/>
              <a:t>Focus extended beyond the Broadband Access &amp; Triple Play Gateway itself to the Connected Home Infrastructure and Smart Home Services</a:t>
            </a:r>
          </a:p>
          <a:p>
            <a:r>
              <a:rPr lang="en-US" sz="2000" dirty="0" smtClean="0"/>
              <a:t>Some factors for HGI‘s decision</a:t>
            </a:r>
          </a:p>
          <a:p>
            <a:pPr lvl="1"/>
            <a:r>
              <a:rPr lang="en-US" sz="1800" dirty="0" smtClean="0"/>
              <a:t>original mission completed, lifetime already extended two times</a:t>
            </a:r>
          </a:p>
          <a:p>
            <a:pPr lvl="1"/>
            <a:r>
              <a:rPr lang="en-US" sz="1800" dirty="0" smtClean="0"/>
              <a:t>Need for consolidation in a fragmented standards and consortia landscape</a:t>
            </a:r>
          </a:p>
          <a:p>
            <a:pPr lvl="1"/>
            <a:r>
              <a:rPr lang="en-US" sz="1800" dirty="0" smtClean="0"/>
              <a:t>New technologies and paradigms (also promoted by HGI itself – software modularity) that need to be addressed cross vertical</a:t>
            </a:r>
          </a:p>
          <a:p>
            <a:pPr lvl="1"/>
            <a:r>
              <a:rPr lang="en-US" sz="1800" dirty="0" smtClean="0"/>
              <a:t>Increasing importance of open source developments</a:t>
            </a:r>
          </a:p>
          <a:p>
            <a:pPr lvl="1"/>
            <a:endParaRPr lang="en-US" sz="1800" dirty="0" smtClean="0"/>
          </a:p>
          <a:p>
            <a:r>
              <a:rPr lang="en-US" sz="2000" dirty="0" smtClean="0"/>
              <a:t>“Overall, we decided the controlled closure of HGI following the accelerated completion of its current work was the most sensible option.” </a:t>
            </a:r>
          </a:p>
          <a:p>
            <a:endParaRPr lang="en-US" sz="2000" dirty="0" smtClean="0"/>
          </a:p>
        </p:txBody>
      </p:sp>
    </p:spTree>
    <p:extLst>
      <p:ext uri="{BB962C8B-B14F-4D97-AF65-F5344CB8AC3E}">
        <p14:creationId xmlns:p14="http://schemas.microsoft.com/office/powerpoint/2010/main" val="179634414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itel 1"/>
          <p:cNvSpPr>
            <a:spLocks noGrp="1"/>
          </p:cNvSpPr>
          <p:nvPr>
            <p:ph type="title"/>
          </p:nvPr>
        </p:nvSpPr>
        <p:spPr>
          <a:xfrm>
            <a:off x="457200" y="404814"/>
            <a:ext cx="8229600" cy="623887"/>
          </a:xfrm>
        </p:spPr>
        <p:txBody>
          <a:bodyPr>
            <a:normAutofit fontScale="90000"/>
          </a:bodyPr>
          <a:lstStyle/>
          <a:p>
            <a:r>
              <a:rPr lang="en-US" sz="3600" dirty="0" smtClean="0"/>
              <a:t>HGI‘s role in the ecosystem and relation to oneM2M</a:t>
            </a:r>
            <a:endParaRPr lang="en-US" sz="36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 smtClean="0"/>
              <a:t>The residential gateway </a:t>
            </a:r>
            <a:r>
              <a:rPr lang="en-US" dirty="0" smtClean="0"/>
              <a:t>remains the </a:t>
            </a:r>
            <a:r>
              <a:rPr lang="en-US" dirty="0" smtClean="0"/>
              <a:t>key architectural component in the home</a:t>
            </a:r>
          </a:p>
          <a:p>
            <a:r>
              <a:rPr lang="en-US" dirty="0" smtClean="0"/>
              <a:t>An operator driven collaborative approach to specify requirements from a business and service perspective</a:t>
            </a:r>
          </a:p>
          <a:p>
            <a:r>
              <a:rPr lang="en-US" dirty="0" smtClean="0"/>
              <a:t>Concrete results with relevance for the industry through close cooperation with complementary </a:t>
            </a:r>
            <a:r>
              <a:rPr lang="en-US" dirty="0" err="1" smtClean="0"/>
              <a:t>organisations</a:t>
            </a:r>
            <a:r>
              <a:rPr lang="en-US" dirty="0" smtClean="0"/>
              <a:t> (e.g. OSGi Alliance, BBF, DECT Forum, UPnP, …)</a:t>
            </a:r>
          </a:p>
          <a:p>
            <a:r>
              <a:rPr lang="en-US" dirty="0" smtClean="0"/>
              <a:t>First contact in Berlin Dec 2011 – oneM2M forming phase</a:t>
            </a:r>
          </a:p>
          <a:p>
            <a:pPr lvl="1"/>
            <a:r>
              <a:rPr lang="en-US" dirty="0" smtClean="0"/>
              <a:t>HGI was invited as “vertical industry representative”</a:t>
            </a:r>
            <a:endParaRPr lang="en-US" dirty="0"/>
          </a:p>
          <a:p>
            <a:pPr lvl="1"/>
            <a:r>
              <a:rPr lang="en-US" dirty="0" smtClean="0"/>
              <a:t>And became a member type 2</a:t>
            </a:r>
          </a:p>
        </p:txBody>
      </p:sp>
    </p:spTree>
    <p:extLst>
      <p:ext uri="{BB962C8B-B14F-4D97-AF65-F5344CB8AC3E}">
        <p14:creationId xmlns:p14="http://schemas.microsoft.com/office/powerpoint/2010/main" val="353254226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3124200" y="6363303"/>
            <a:ext cx="2895600" cy="152053"/>
          </a:xfrm>
        </p:spPr>
        <p:txBody>
          <a:bodyPr/>
          <a:lstStyle/>
          <a:p>
            <a:pPr>
              <a:defRPr/>
            </a:pPr>
            <a:fld id="{034E4D57-286A-4BC0-9998-DE0EDB83ECB3}" type="slidenum">
              <a:rPr lang="zh-CN" altLang="en-US" smtClean="0"/>
              <a:pPr>
                <a:defRPr/>
              </a:pPr>
              <a:t>4</a:t>
            </a:fld>
            <a:endParaRPr lang="en-US" altLang="zh-CN" dirty="0"/>
          </a:p>
        </p:txBody>
      </p:sp>
      <p:grpSp>
        <p:nvGrpSpPr>
          <p:cNvPr id="14340" name="Group 1"/>
          <p:cNvGrpSpPr>
            <a:grpSpLocks/>
          </p:cNvGrpSpPr>
          <p:nvPr/>
        </p:nvGrpSpPr>
        <p:grpSpPr bwMode="auto">
          <a:xfrm>
            <a:off x="1187450" y="1714795"/>
            <a:ext cx="6835775" cy="4721225"/>
            <a:chOff x="2174875" y="2060575"/>
            <a:chExt cx="5848350" cy="3998913"/>
          </a:xfrm>
        </p:grpSpPr>
        <p:pic>
          <p:nvPicPr>
            <p:cNvPr id="21511" name="Picture 7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3565658" y="2060575"/>
              <a:ext cx="4457567" cy="3591492"/>
            </a:xfrm>
            <a:prstGeom prst="rect">
              <a:avLst/>
            </a:prstGeom>
            <a:noFill/>
            <a:ln>
              <a:noFill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Oval 4"/>
            <p:cNvSpPr/>
            <p:nvPr/>
          </p:nvSpPr>
          <p:spPr>
            <a:xfrm>
              <a:off x="3492316" y="3994145"/>
              <a:ext cx="1722180" cy="1522115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pic>
          <p:nvPicPr>
            <p:cNvPr id="14344" name="Picture 92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74875" y="4975225"/>
              <a:ext cx="1301750" cy="1084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341" name="TextBox 1"/>
          <p:cNvSpPr txBox="1">
            <a:spLocks noChangeArrowheads="1"/>
          </p:cNvSpPr>
          <p:nvPr/>
        </p:nvSpPr>
        <p:spPr bwMode="auto">
          <a:xfrm rot="19320257">
            <a:off x="-52456" y="2526972"/>
            <a:ext cx="3330672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dirty="0">
                <a:solidFill>
                  <a:srgbClr val="FF0000"/>
                </a:solidFill>
              </a:rPr>
              <a:t>Presented at Berlin </a:t>
            </a:r>
            <a:endParaRPr lang="en-US" altLang="en-US" dirty="0" smtClean="0">
              <a:solidFill>
                <a:srgbClr val="FF0000"/>
              </a:solidFill>
            </a:endParaRPr>
          </a:p>
          <a:p>
            <a:pPr eaLnBrk="1" hangingPunct="1"/>
            <a:r>
              <a:rPr lang="en-US" altLang="en-US" dirty="0" smtClean="0">
                <a:solidFill>
                  <a:srgbClr val="FF0000"/>
                </a:solidFill>
              </a:rPr>
              <a:t>“oneM2M2” </a:t>
            </a:r>
            <a:r>
              <a:rPr lang="en-US" altLang="en-US" dirty="0">
                <a:solidFill>
                  <a:srgbClr val="FF0000"/>
                </a:solidFill>
              </a:rPr>
              <a:t>meeting Dec 2011</a:t>
            </a:r>
            <a:endParaRPr lang="en-CA" altLang="en-US" dirty="0">
              <a:solidFill>
                <a:srgbClr val="FF0000"/>
              </a:solidFill>
            </a:endParaRPr>
          </a:p>
        </p:txBody>
      </p:sp>
      <p:sp>
        <p:nvSpPr>
          <p:cNvPr id="9" name="Titel 1"/>
          <p:cNvSpPr txBox="1">
            <a:spLocks/>
          </p:cNvSpPr>
          <p:nvPr/>
        </p:nvSpPr>
        <p:spPr>
          <a:xfrm>
            <a:off x="457200" y="404814"/>
            <a:ext cx="8229600" cy="623887"/>
          </a:xfrm>
          <a:prstGeom prst="rect">
            <a:avLst/>
          </a:prstGeom>
        </p:spPr>
        <p:txBody>
          <a:bodyPr vert="horz" lIns="91440" tIns="0" rIns="91440" bIns="0" rtlCol="0" anchor="t" anchorCtr="0">
            <a:normAutofit fontScale="67500" lnSpcReduction="20000"/>
          </a:bodyPr>
          <a:lstStyle>
            <a:lvl1pPr>
              <a:spcBef>
                <a:spcPct val="0"/>
              </a:spcBef>
              <a:buNone/>
              <a:defRPr sz="3600" b="1" i="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dirty="0"/>
              <a:t>The Home Gateway as an instantiation of an M2M Gateway for the Hom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5901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Object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"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43" name="Bild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5163" y="5681525"/>
            <a:ext cx="517525" cy="207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4" name="Picture 7" descr="C:\Users\tje\Desktop\Sammlung\AllJoyn800x480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2688" y="5661025"/>
            <a:ext cx="612775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5" name="Picture 28" descr="http://www.onem2m.org/images/oneM2M%20Logo%20C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825" y="5529263"/>
            <a:ext cx="668338" cy="636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6" name="Title 1"/>
          <p:cNvSpPr>
            <a:spLocks noGrp="1"/>
          </p:cNvSpPr>
          <p:nvPr>
            <p:ph type="title"/>
          </p:nvPr>
        </p:nvSpPr>
        <p:spPr>
          <a:xfrm>
            <a:off x="468313" y="556662"/>
            <a:ext cx="8362950" cy="866775"/>
          </a:xfrm>
        </p:spPr>
        <p:txBody>
          <a:bodyPr>
            <a:normAutofit fontScale="90000"/>
          </a:bodyPr>
          <a:lstStyle/>
          <a:p>
            <a:r>
              <a:rPr lang="en-US" altLang="en-US" dirty="0" smtClean="0"/>
              <a:t>The HGI way to smart home</a:t>
            </a:r>
            <a:br>
              <a:rPr lang="en-US" altLang="en-US" dirty="0" smtClean="0"/>
            </a:br>
            <a:r>
              <a:rPr lang="en-US" altLang="en-US" sz="2400" i="1" dirty="0" smtClean="0"/>
              <a:t>Collaborative Approaches  </a:t>
            </a:r>
          </a:p>
        </p:txBody>
      </p:sp>
      <p:grpSp>
        <p:nvGrpSpPr>
          <p:cNvPr id="10248" name="Gruppieren 50"/>
          <p:cNvGrpSpPr>
            <a:grpSpLocks/>
          </p:cNvGrpSpPr>
          <p:nvPr/>
        </p:nvGrpSpPr>
        <p:grpSpPr bwMode="auto">
          <a:xfrm>
            <a:off x="936625" y="4454525"/>
            <a:ext cx="1501775" cy="1584325"/>
            <a:chOff x="3913307" y="879911"/>
            <a:chExt cx="1502989" cy="1584325"/>
          </a:xfrm>
        </p:grpSpPr>
        <p:pic>
          <p:nvPicPr>
            <p:cNvPr id="10280" name="Picture 22" descr="http://www.homegatewayinitiative.org/img/logo.jp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00829" y="1839919"/>
              <a:ext cx="426171" cy="1713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81" name="Picture 24" descr="http://www.broadbandworldforum.com/wp-content/uploads/5441broadband_forum.gif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16017" y="1782064"/>
              <a:ext cx="684247" cy="2870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82" name="Picture 26" descr="http://www.smarthomes2011.com/Images/OSGi_Alliance_RGB.jpg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41483" y="2106911"/>
              <a:ext cx="547970" cy="2557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" name="Oval 15"/>
            <p:cNvSpPr/>
            <p:nvPr/>
          </p:nvSpPr>
          <p:spPr bwMode="auto">
            <a:xfrm>
              <a:off x="3913307" y="879911"/>
              <a:ext cx="1502989" cy="1584325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  <a:effec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buFont typeface="Times New Roman" pitchFamily="-110" charset="0"/>
                <a:buNone/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</p:grpSp>
      <p:grpSp>
        <p:nvGrpSpPr>
          <p:cNvPr id="10249" name="Gruppieren 8"/>
          <p:cNvGrpSpPr>
            <a:grpSpLocks/>
          </p:cNvGrpSpPr>
          <p:nvPr/>
        </p:nvGrpSpPr>
        <p:grpSpPr bwMode="auto">
          <a:xfrm>
            <a:off x="2976563" y="4454525"/>
            <a:ext cx="1503362" cy="1684338"/>
            <a:chOff x="3011673" y="4342568"/>
            <a:chExt cx="1502989" cy="1684241"/>
          </a:xfrm>
        </p:grpSpPr>
        <p:pic>
          <p:nvPicPr>
            <p:cNvPr id="10274" name="Picture 18" descr="http://www.eguestcontrols.com/wp-content/uploads/2011/05/zwave_alliance_logo.jpg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43351" y="5477283"/>
              <a:ext cx="731422" cy="5495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75" name="Picture 20" descr="http://cdn.coolest-gadgets.com/wp-content/uploads/zigbee-alliance.jpg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10892" y="5405275"/>
              <a:ext cx="492352" cy="1980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76" name="Picture 40" descr="http://images01.linx.de/old_product/34/04/5/full.jpg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39336" y="5302576"/>
              <a:ext cx="438356" cy="4600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77" name="Bild 11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07119" y="5051098"/>
              <a:ext cx="585848" cy="2334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78" name="Bild 34"/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67520" y="5045235"/>
              <a:ext cx="575312" cy="2451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1" name="Oval 15"/>
            <p:cNvSpPr/>
            <p:nvPr/>
          </p:nvSpPr>
          <p:spPr bwMode="auto">
            <a:xfrm>
              <a:off x="3011673" y="4342568"/>
              <a:ext cx="1502989" cy="1584234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  <a:effec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buFont typeface="Times New Roman" pitchFamily="-110" charset="0"/>
                <a:buNone/>
                <a:defRPr/>
              </a:pPr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25" name="Oval 15"/>
          <p:cNvSpPr/>
          <p:nvPr/>
        </p:nvSpPr>
        <p:spPr bwMode="auto">
          <a:xfrm>
            <a:off x="7138988" y="1473200"/>
            <a:ext cx="1890712" cy="1993900"/>
          </a:xfrm>
          <a:prstGeom prst="ellipse">
            <a:avLst/>
          </a:pr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buFont typeface="Times New Roman" pitchFamily="-110" charset="0"/>
              <a:buNone/>
              <a:defRPr/>
            </a:pPr>
            <a:endParaRPr lang="en-US">
              <a:solidFill>
                <a:srgbClr val="000000"/>
              </a:solidFill>
            </a:endParaRPr>
          </a:p>
        </p:txBody>
      </p:sp>
      <p:pic>
        <p:nvPicPr>
          <p:cNvPr id="10251" name="Picture 2" descr="C:\Users\tje\Desktop\index.jpg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960" y="6153470"/>
            <a:ext cx="292100" cy="179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Oval 15"/>
          <p:cNvSpPr/>
          <p:nvPr/>
        </p:nvSpPr>
        <p:spPr bwMode="auto">
          <a:xfrm>
            <a:off x="5018088" y="4454525"/>
            <a:ext cx="1857375" cy="1927225"/>
          </a:xfrm>
          <a:prstGeom prst="ellipse">
            <a:avLst/>
          </a:prstGeom>
          <a:noFill/>
          <a:ln>
            <a:solidFill>
              <a:schemeClr val="tx2"/>
            </a:solidFill>
            <a:prstDash val="lgDash"/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buFont typeface="Times New Roman" pitchFamily="-110" charset="0"/>
              <a:buNone/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0253" name="AutoShape 12"/>
          <p:cNvSpPr>
            <a:spLocks noChangeArrowheads="1"/>
          </p:cNvSpPr>
          <p:nvPr/>
        </p:nvSpPr>
        <p:spPr bwMode="gray">
          <a:xfrm>
            <a:off x="704850" y="2147888"/>
            <a:ext cx="6399213" cy="322262"/>
          </a:xfrm>
          <a:prstGeom prst="rightArrow">
            <a:avLst>
              <a:gd name="adj1" fmla="val 70074"/>
              <a:gd name="adj2" fmla="val 50103"/>
            </a:avLst>
          </a:prstGeom>
          <a:solidFill>
            <a:srgbClr val="91D5C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lIns="72000" tIns="72000" rIns="72000" bIns="72000"/>
          <a:lstStyle>
            <a:lvl1pPr eaLnBrk="0" hangingPunct="0">
              <a:lnSpc>
                <a:spcPct val="98000"/>
              </a:lnSpc>
              <a:spcBef>
                <a:spcPts val="650"/>
              </a:spcBef>
              <a:buFont typeface="Arial" charset="0"/>
              <a:buChar char="•"/>
              <a:defRPr sz="3200">
                <a:solidFill>
                  <a:srgbClr val="04617B"/>
                </a:solidFill>
                <a:latin typeface="Calibri" pitchFamily="34" charset="0"/>
                <a:ea typeface="Lucida Sans Unicode" pitchFamily="34" charset="0"/>
                <a:cs typeface="Lucida Sans Unicode" pitchFamily="34" charset="0"/>
              </a:defRPr>
            </a:lvl1pPr>
            <a:lvl2pPr eaLnBrk="0" hangingPunct="0">
              <a:lnSpc>
                <a:spcPct val="98000"/>
              </a:lnSpc>
              <a:spcBef>
                <a:spcPts val="600"/>
              </a:spcBef>
              <a:buFont typeface="Arial" charset="0"/>
              <a:buChar char="•"/>
              <a:defRPr sz="2800">
                <a:solidFill>
                  <a:srgbClr val="04617B"/>
                </a:solidFill>
                <a:latin typeface="Calibri" pitchFamily="34" charset="0"/>
                <a:ea typeface="Lucida Sans Unicode" pitchFamily="34" charset="0"/>
                <a:cs typeface="Lucida Sans Unicode" pitchFamily="34" charset="0"/>
              </a:defRPr>
            </a:lvl2pPr>
            <a:lvl3pPr eaLnBrk="0" hangingPunct="0">
              <a:lnSpc>
                <a:spcPct val="98000"/>
              </a:lnSpc>
              <a:spcBef>
                <a:spcPts val="525"/>
              </a:spcBef>
              <a:buFont typeface="Arial" charset="0"/>
              <a:buChar char="•"/>
              <a:defRPr sz="2400">
                <a:solidFill>
                  <a:srgbClr val="04617B"/>
                </a:solidFill>
                <a:latin typeface="Calibri" pitchFamily="34" charset="0"/>
                <a:ea typeface="Lucida Sans Unicode" pitchFamily="34" charset="0"/>
                <a:cs typeface="Lucida Sans Unicode" pitchFamily="34" charset="0"/>
              </a:defRPr>
            </a:lvl3pPr>
            <a:lvl4pPr eaLnBrk="0" hangingPunct="0">
              <a:lnSpc>
                <a:spcPct val="98000"/>
              </a:lnSpc>
              <a:spcBef>
                <a:spcPts val="500"/>
              </a:spcBef>
              <a:buFont typeface="Arial" charset="0"/>
              <a:buChar char="•"/>
              <a:defRPr sz="2400">
                <a:solidFill>
                  <a:srgbClr val="04617B"/>
                </a:solidFill>
                <a:latin typeface="Calibri" pitchFamily="34" charset="0"/>
                <a:ea typeface="Lucida Sans Unicode" pitchFamily="34" charset="0"/>
                <a:cs typeface="Lucida Sans Unicode" pitchFamily="34" charset="0"/>
              </a:defRPr>
            </a:lvl4pPr>
            <a:lvl5pPr eaLnBrk="0" hangingPunct="0">
              <a:lnSpc>
                <a:spcPct val="98000"/>
              </a:lnSpc>
              <a:spcBef>
                <a:spcPts val="500"/>
              </a:spcBef>
              <a:buFont typeface="Arial" charset="0"/>
              <a:buChar char="•"/>
              <a:defRPr sz="2000">
                <a:solidFill>
                  <a:srgbClr val="04617B"/>
                </a:solidFill>
                <a:latin typeface="Calibri" pitchFamily="34" charset="0"/>
                <a:ea typeface="Lucida Sans Unicode" pitchFamily="34" charset="0"/>
                <a:cs typeface="Lucida Sans Unicode" pitchFamily="34" charset="0"/>
              </a:defRPr>
            </a:lvl5pPr>
            <a:lvl6pPr marL="2514600" indent="-228600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2000">
                <a:solidFill>
                  <a:srgbClr val="04617B"/>
                </a:solidFill>
                <a:latin typeface="Calibri" pitchFamily="34" charset="0"/>
                <a:ea typeface="Lucida Sans Unicode" pitchFamily="34" charset="0"/>
                <a:cs typeface="Lucida Sans Unicode" pitchFamily="34" charset="0"/>
              </a:defRPr>
            </a:lvl6pPr>
            <a:lvl7pPr marL="2971800" indent="-228600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2000">
                <a:solidFill>
                  <a:srgbClr val="04617B"/>
                </a:solidFill>
                <a:latin typeface="Calibri" pitchFamily="34" charset="0"/>
                <a:ea typeface="Lucida Sans Unicode" pitchFamily="34" charset="0"/>
                <a:cs typeface="Lucida Sans Unicode" pitchFamily="34" charset="0"/>
              </a:defRPr>
            </a:lvl7pPr>
            <a:lvl8pPr marL="3429000" indent="-228600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2000">
                <a:solidFill>
                  <a:srgbClr val="04617B"/>
                </a:solidFill>
                <a:latin typeface="Calibri" pitchFamily="34" charset="0"/>
                <a:ea typeface="Lucida Sans Unicode" pitchFamily="34" charset="0"/>
                <a:cs typeface="Lucida Sans Unicode" pitchFamily="34" charset="0"/>
              </a:defRPr>
            </a:lvl8pPr>
            <a:lvl9pPr marL="3886200" indent="-228600" eaLnBrk="0" fontAlgn="base" hangingPunct="0">
              <a:lnSpc>
                <a:spcPct val="98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2000">
                <a:solidFill>
                  <a:srgbClr val="04617B"/>
                </a:solidFill>
                <a:latin typeface="Calibri" pitchFamily="34" charset="0"/>
                <a:ea typeface="Lucida Sans Unicode" pitchFamily="34" charset="0"/>
                <a:cs typeface="Lucida Sans Unicode" pitchFamily="34" charset="0"/>
              </a:defRPr>
            </a:lvl9pPr>
          </a:lstStyle>
          <a:p>
            <a:pPr defTabSz="914400" eaLnBrk="1" hangingPunct="1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ClrTx/>
              <a:buFontTx/>
              <a:buNone/>
            </a:pPr>
            <a:endParaRPr lang="en-US" altLang="en-US" sz="1400" smtClean="0">
              <a:solidFill>
                <a:srgbClr val="000000"/>
              </a:solidFill>
              <a:latin typeface="Tele-GroteskNor" pitchFamily="2" charset="0"/>
              <a:ea typeface="MS PGothic" pitchFamily="34" charset="-128"/>
              <a:cs typeface="Arial" charset="0"/>
            </a:endParaRPr>
          </a:p>
        </p:txBody>
      </p:sp>
      <p:sp>
        <p:nvSpPr>
          <p:cNvPr id="10254" name="Freeform 5"/>
          <p:cNvSpPr>
            <a:spLocks/>
          </p:cNvSpPr>
          <p:nvPr/>
        </p:nvSpPr>
        <p:spPr bwMode="gray">
          <a:xfrm rot="6055536">
            <a:off x="1277938" y="3575050"/>
            <a:ext cx="2852737" cy="366713"/>
          </a:xfrm>
          <a:custGeom>
            <a:avLst/>
            <a:gdLst>
              <a:gd name="T0" fmla="*/ 2147483647 w 4163"/>
              <a:gd name="T1" fmla="*/ 2147483647 h 1509"/>
              <a:gd name="T2" fmla="*/ 2147483647 w 4163"/>
              <a:gd name="T3" fmla="*/ 2147483647 h 1509"/>
              <a:gd name="T4" fmla="*/ 2147483647 w 4163"/>
              <a:gd name="T5" fmla="*/ 2147483647 h 1509"/>
              <a:gd name="T6" fmla="*/ 2147483647 w 4163"/>
              <a:gd name="T7" fmla="*/ 2147483647 h 1509"/>
              <a:gd name="T8" fmla="*/ 2147483647 w 4163"/>
              <a:gd name="T9" fmla="*/ 2147483647 h 1509"/>
              <a:gd name="T10" fmla="*/ 2147483647 w 4163"/>
              <a:gd name="T11" fmla="*/ 2147483647 h 1509"/>
              <a:gd name="T12" fmla="*/ 2147483647 w 4163"/>
              <a:gd name="T13" fmla="*/ 2147483647 h 1509"/>
              <a:gd name="T14" fmla="*/ 2147483647 w 4163"/>
              <a:gd name="T15" fmla="*/ 2147483647 h 1509"/>
              <a:gd name="T16" fmla="*/ 2147483647 w 4163"/>
              <a:gd name="T17" fmla="*/ 2147483647 h 1509"/>
              <a:gd name="T18" fmla="*/ 2147483647 w 4163"/>
              <a:gd name="T19" fmla="*/ 2147483647 h 1509"/>
              <a:gd name="T20" fmla="*/ 2147483647 w 4163"/>
              <a:gd name="T21" fmla="*/ 2147483647 h 1509"/>
              <a:gd name="T22" fmla="*/ 2147483647 w 4163"/>
              <a:gd name="T23" fmla="*/ 2147483647 h 1509"/>
              <a:gd name="T24" fmla="*/ 2147483647 w 4163"/>
              <a:gd name="T25" fmla="*/ 2147483647 h 1509"/>
              <a:gd name="T26" fmla="*/ 2147483647 w 4163"/>
              <a:gd name="T27" fmla="*/ 2147483647 h 1509"/>
              <a:gd name="T28" fmla="*/ 2147483647 w 4163"/>
              <a:gd name="T29" fmla="*/ 2147483647 h 1509"/>
              <a:gd name="T30" fmla="*/ 2147483647 w 4163"/>
              <a:gd name="T31" fmla="*/ 2147483647 h 1509"/>
              <a:gd name="T32" fmla="*/ 2147483647 w 4163"/>
              <a:gd name="T33" fmla="*/ 2147483647 h 1509"/>
              <a:gd name="T34" fmla="*/ 2147483647 w 4163"/>
              <a:gd name="T35" fmla="*/ 2147483647 h 1509"/>
              <a:gd name="T36" fmla="*/ 2147483647 w 4163"/>
              <a:gd name="T37" fmla="*/ 2147483647 h 1509"/>
              <a:gd name="T38" fmla="*/ 2147483647 w 4163"/>
              <a:gd name="T39" fmla="*/ 2147483647 h 1509"/>
              <a:gd name="T40" fmla="*/ 2147483647 w 4163"/>
              <a:gd name="T41" fmla="*/ 2147483647 h 1509"/>
              <a:gd name="T42" fmla="*/ 2147483647 w 4163"/>
              <a:gd name="T43" fmla="*/ 2147483647 h 1509"/>
              <a:gd name="T44" fmla="*/ 2147483647 w 4163"/>
              <a:gd name="T45" fmla="*/ 2147483647 h 1509"/>
              <a:gd name="T46" fmla="*/ 2147483647 w 4163"/>
              <a:gd name="T47" fmla="*/ 2147483647 h 1509"/>
              <a:gd name="T48" fmla="*/ 2147483647 w 4163"/>
              <a:gd name="T49" fmla="*/ 2147483647 h 1509"/>
              <a:gd name="T50" fmla="*/ 2147483647 w 4163"/>
              <a:gd name="T51" fmla="*/ 2147483647 h 1509"/>
              <a:gd name="T52" fmla="*/ 2147483647 w 4163"/>
              <a:gd name="T53" fmla="*/ 2147483647 h 1509"/>
              <a:gd name="T54" fmla="*/ 2147483647 w 4163"/>
              <a:gd name="T55" fmla="*/ 2147483647 h 1509"/>
              <a:gd name="T56" fmla="*/ 2147483647 w 4163"/>
              <a:gd name="T57" fmla="*/ 2147483647 h 1509"/>
              <a:gd name="T58" fmla="*/ 2147483647 w 4163"/>
              <a:gd name="T59" fmla="*/ 2147483647 h 1509"/>
              <a:gd name="T60" fmla="*/ 2147483647 w 4163"/>
              <a:gd name="T61" fmla="*/ 2147483647 h 1509"/>
              <a:gd name="T62" fmla="*/ 2147483647 w 4163"/>
              <a:gd name="T63" fmla="*/ 2147483647 h 1509"/>
              <a:gd name="T64" fmla="*/ 2147483647 w 4163"/>
              <a:gd name="T65" fmla="*/ 2147483647 h 1509"/>
              <a:gd name="T66" fmla="*/ 2147483647 w 4163"/>
              <a:gd name="T67" fmla="*/ 2147483647 h 1509"/>
              <a:gd name="T68" fmla="*/ 2147483647 w 4163"/>
              <a:gd name="T69" fmla="*/ 2147483647 h 1509"/>
              <a:gd name="T70" fmla="*/ 2147483647 w 4163"/>
              <a:gd name="T71" fmla="*/ 2147483647 h 1509"/>
              <a:gd name="T72" fmla="*/ 2147483647 w 4163"/>
              <a:gd name="T73" fmla="*/ 2147483647 h 1509"/>
              <a:gd name="T74" fmla="*/ 2147483647 w 4163"/>
              <a:gd name="T75" fmla="*/ 2147483647 h 1509"/>
              <a:gd name="T76" fmla="*/ 2147483647 w 4163"/>
              <a:gd name="T77" fmla="*/ 2147483647 h 1509"/>
              <a:gd name="T78" fmla="*/ 2147483647 w 4163"/>
              <a:gd name="T79" fmla="*/ 2147483647 h 1509"/>
              <a:gd name="T80" fmla="*/ 2147483647 w 4163"/>
              <a:gd name="T81" fmla="*/ 2147483647 h 1509"/>
              <a:gd name="T82" fmla="*/ 2147483647 w 4163"/>
              <a:gd name="T83" fmla="*/ 2147483647 h 1509"/>
              <a:gd name="T84" fmla="*/ 2147483647 w 4163"/>
              <a:gd name="T85" fmla="*/ 2147483647 h 1509"/>
              <a:gd name="T86" fmla="*/ 2147483647 w 4163"/>
              <a:gd name="T87" fmla="*/ 2147483647 h 1509"/>
              <a:gd name="T88" fmla="*/ 2147483647 w 4163"/>
              <a:gd name="T89" fmla="*/ 2147483647 h 1509"/>
              <a:gd name="T90" fmla="*/ 2147483647 w 4163"/>
              <a:gd name="T91" fmla="*/ 2147483647 h 1509"/>
              <a:gd name="T92" fmla="*/ 2147483647 w 4163"/>
              <a:gd name="T93" fmla="*/ 2147483647 h 1509"/>
              <a:gd name="T94" fmla="*/ 2147483647 w 4163"/>
              <a:gd name="T95" fmla="*/ 2147483647 h 1509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4163" h="1509">
                <a:moveTo>
                  <a:pt x="2092" y="0"/>
                </a:moveTo>
                <a:lnTo>
                  <a:pt x="2187" y="1"/>
                </a:lnTo>
                <a:lnTo>
                  <a:pt x="2282" y="6"/>
                </a:lnTo>
                <a:lnTo>
                  <a:pt x="2376" y="15"/>
                </a:lnTo>
                <a:lnTo>
                  <a:pt x="2468" y="26"/>
                </a:lnTo>
                <a:lnTo>
                  <a:pt x="2560" y="41"/>
                </a:lnTo>
                <a:lnTo>
                  <a:pt x="2651" y="60"/>
                </a:lnTo>
                <a:lnTo>
                  <a:pt x="2741" y="80"/>
                </a:lnTo>
                <a:lnTo>
                  <a:pt x="2829" y="106"/>
                </a:lnTo>
                <a:lnTo>
                  <a:pt x="2917" y="132"/>
                </a:lnTo>
                <a:lnTo>
                  <a:pt x="3001" y="161"/>
                </a:lnTo>
                <a:lnTo>
                  <a:pt x="3085" y="194"/>
                </a:lnTo>
                <a:lnTo>
                  <a:pt x="3166" y="230"/>
                </a:lnTo>
                <a:lnTo>
                  <a:pt x="3245" y="266"/>
                </a:lnTo>
                <a:lnTo>
                  <a:pt x="3322" y="305"/>
                </a:lnTo>
                <a:lnTo>
                  <a:pt x="3396" y="348"/>
                </a:lnTo>
                <a:lnTo>
                  <a:pt x="3468" y="391"/>
                </a:lnTo>
                <a:lnTo>
                  <a:pt x="3537" y="438"/>
                </a:lnTo>
                <a:lnTo>
                  <a:pt x="3603" y="486"/>
                </a:lnTo>
                <a:lnTo>
                  <a:pt x="3665" y="537"/>
                </a:lnTo>
                <a:lnTo>
                  <a:pt x="3726" y="589"/>
                </a:lnTo>
                <a:lnTo>
                  <a:pt x="3781" y="642"/>
                </a:lnTo>
                <a:lnTo>
                  <a:pt x="3833" y="696"/>
                </a:lnTo>
                <a:lnTo>
                  <a:pt x="3882" y="753"/>
                </a:lnTo>
                <a:lnTo>
                  <a:pt x="4163" y="538"/>
                </a:lnTo>
                <a:lnTo>
                  <a:pt x="4030" y="1495"/>
                </a:lnTo>
                <a:lnTo>
                  <a:pt x="3068" y="1366"/>
                </a:lnTo>
                <a:lnTo>
                  <a:pt x="3335" y="1161"/>
                </a:lnTo>
                <a:lnTo>
                  <a:pt x="3293" y="1094"/>
                </a:lnTo>
                <a:lnTo>
                  <a:pt x="3248" y="1031"/>
                </a:lnTo>
                <a:lnTo>
                  <a:pt x="3197" y="968"/>
                </a:lnTo>
                <a:lnTo>
                  <a:pt x="3144" y="908"/>
                </a:lnTo>
                <a:lnTo>
                  <a:pt x="3086" y="852"/>
                </a:lnTo>
                <a:lnTo>
                  <a:pt x="3025" y="796"/>
                </a:lnTo>
                <a:lnTo>
                  <a:pt x="2961" y="744"/>
                </a:lnTo>
                <a:lnTo>
                  <a:pt x="2894" y="695"/>
                </a:lnTo>
                <a:lnTo>
                  <a:pt x="2823" y="648"/>
                </a:lnTo>
                <a:lnTo>
                  <a:pt x="2750" y="604"/>
                </a:lnTo>
                <a:lnTo>
                  <a:pt x="2674" y="563"/>
                </a:lnTo>
                <a:lnTo>
                  <a:pt x="2597" y="525"/>
                </a:lnTo>
                <a:lnTo>
                  <a:pt x="2516" y="491"/>
                </a:lnTo>
                <a:lnTo>
                  <a:pt x="2434" y="461"/>
                </a:lnTo>
                <a:lnTo>
                  <a:pt x="2350" y="433"/>
                </a:lnTo>
                <a:lnTo>
                  <a:pt x="2264" y="409"/>
                </a:lnTo>
                <a:lnTo>
                  <a:pt x="2177" y="389"/>
                </a:lnTo>
                <a:lnTo>
                  <a:pt x="2089" y="372"/>
                </a:lnTo>
                <a:lnTo>
                  <a:pt x="1999" y="360"/>
                </a:lnTo>
                <a:lnTo>
                  <a:pt x="1909" y="351"/>
                </a:lnTo>
                <a:lnTo>
                  <a:pt x="1817" y="347"/>
                </a:lnTo>
                <a:lnTo>
                  <a:pt x="1726" y="347"/>
                </a:lnTo>
                <a:lnTo>
                  <a:pt x="1633" y="351"/>
                </a:lnTo>
                <a:lnTo>
                  <a:pt x="1541" y="360"/>
                </a:lnTo>
                <a:lnTo>
                  <a:pt x="1449" y="372"/>
                </a:lnTo>
                <a:lnTo>
                  <a:pt x="1357" y="390"/>
                </a:lnTo>
                <a:lnTo>
                  <a:pt x="1266" y="413"/>
                </a:lnTo>
                <a:lnTo>
                  <a:pt x="1174" y="441"/>
                </a:lnTo>
                <a:lnTo>
                  <a:pt x="1083" y="472"/>
                </a:lnTo>
                <a:lnTo>
                  <a:pt x="994" y="510"/>
                </a:lnTo>
                <a:lnTo>
                  <a:pt x="905" y="553"/>
                </a:lnTo>
                <a:lnTo>
                  <a:pt x="819" y="601"/>
                </a:lnTo>
                <a:lnTo>
                  <a:pt x="733" y="654"/>
                </a:lnTo>
                <a:lnTo>
                  <a:pt x="650" y="714"/>
                </a:lnTo>
                <a:lnTo>
                  <a:pt x="568" y="778"/>
                </a:lnTo>
                <a:lnTo>
                  <a:pt x="487" y="848"/>
                </a:lnTo>
                <a:lnTo>
                  <a:pt x="410" y="924"/>
                </a:lnTo>
                <a:lnTo>
                  <a:pt x="334" y="1006"/>
                </a:lnTo>
                <a:lnTo>
                  <a:pt x="262" y="1094"/>
                </a:lnTo>
                <a:lnTo>
                  <a:pt x="191" y="1188"/>
                </a:lnTo>
                <a:lnTo>
                  <a:pt x="124" y="1289"/>
                </a:lnTo>
                <a:lnTo>
                  <a:pt x="61" y="1395"/>
                </a:lnTo>
                <a:lnTo>
                  <a:pt x="0" y="1509"/>
                </a:lnTo>
                <a:lnTo>
                  <a:pt x="51" y="1385"/>
                </a:lnTo>
                <a:lnTo>
                  <a:pt x="104" y="1268"/>
                </a:lnTo>
                <a:lnTo>
                  <a:pt x="162" y="1156"/>
                </a:lnTo>
                <a:lnTo>
                  <a:pt x="223" y="1050"/>
                </a:lnTo>
                <a:lnTo>
                  <a:pt x="286" y="950"/>
                </a:lnTo>
                <a:lnTo>
                  <a:pt x="354" y="855"/>
                </a:lnTo>
                <a:lnTo>
                  <a:pt x="424" y="766"/>
                </a:lnTo>
                <a:lnTo>
                  <a:pt x="496" y="682"/>
                </a:lnTo>
                <a:lnTo>
                  <a:pt x="571" y="604"/>
                </a:lnTo>
                <a:lnTo>
                  <a:pt x="649" y="532"/>
                </a:lnTo>
                <a:lnTo>
                  <a:pt x="729" y="463"/>
                </a:lnTo>
                <a:lnTo>
                  <a:pt x="812" y="400"/>
                </a:lnTo>
                <a:lnTo>
                  <a:pt x="895" y="343"/>
                </a:lnTo>
                <a:lnTo>
                  <a:pt x="981" y="290"/>
                </a:lnTo>
                <a:lnTo>
                  <a:pt x="1068" y="242"/>
                </a:lnTo>
                <a:lnTo>
                  <a:pt x="1157" y="198"/>
                </a:lnTo>
                <a:lnTo>
                  <a:pt x="1248" y="160"/>
                </a:lnTo>
                <a:lnTo>
                  <a:pt x="1339" y="125"/>
                </a:lnTo>
                <a:lnTo>
                  <a:pt x="1431" y="96"/>
                </a:lnTo>
                <a:lnTo>
                  <a:pt x="1525" y="69"/>
                </a:lnTo>
                <a:lnTo>
                  <a:pt x="1618" y="48"/>
                </a:lnTo>
                <a:lnTo>
                  <a:pt x="1713" y="30"/>
                </a:lnTo>
                <a:lnTo>
                  <a:pt x="1808" y="17"/>
                </a:lnTo>
                <a:lnTo>
                  <a:pt x="1903" y="7"/>
                </a:lnTo>
                <a:lnTo>
                  <a:pt x="1998" y="2"/>
                </a:lnTo>
                <a:lnTo>
                  <a:pt x="2092" y="0"/>
                </a:lnTo>
                <a:close/>
              </a:path>
            </a:pathLst>
          </a:custGeom>
          <a:solidFill>
            <a:srgbClr val="91D5CF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72009" tIns="0" rIns="0" bIns="0"/>
          <a:lstStyle/>
          <a:p>
            <a:endParaRPr lang="en-US" smtClean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10255" name="Freeform 5"/>
          <p:cNvSpPr>
            <a:spLocks/>
          </p:cNvSpPr>
          <p:nvPr/>
        </p:nvSpPr>
        <p:spPr bwMode="gray">
          <a:xfrm rot="6055536">
            <a:off x="3349625" y="3575051"/>
            <a:ext cx="2852737" cy="366712"/>
          </a:xfrm>
          <a:custGeom>
            <a:avLst/>
            <a:gdLst>
              <a:gd name="T0" fmla="*/ 2147483647 w 4163"/>
              <a:gd name="T1" fmla="*/ 2147483647 h 1509"/>
              <a:gd name="T2" fmla="*/ 2147483647 w 4163"/>
              <a:gd name="T3" fmla="*/ 2147483647 h 1509"/>
              <a:gd name="T4" fmla="*/ 2147483647 w 4163"/>
              <a:gd name="T5" fmla="*/ 2147483647 h 1509"/>
              <a:gd name="T6" fmla="*/ 2147483647 w 4163"/>
              <a:gd name="T7" fmla="*/ 2147483647 h 1509"/>
              <a:gd name="T8" fmla="*/ 2147483647 w 4163"/>
              <a:gd name="T9" fmla="*/ 2147483647 h 1509"/>
              <a:gd name="T10" fmla="*/ 2147483647 w 4163"/>
              <a:gd name="T11" fmla="*/ 2147483647 h 1509"/>
              <a:gd name="T12" fmla="*/ 2147483647 w 4163"/>
              <a:gd name="T13" fmla="*/ 2147483647 h 1509"/>
              <a:gd name="T14" fmla="*/ 2147483647 w 4163"/>
              <a:gd name="T15" fmla="*/ 2147483647 h 1509"/>
              <a:gd name="T16" fmla="*/ 2147483647 w 4163"/>
              <a:gd name="T17" fmla="*/ 2147483647 h 1509"/>
              <a:gd name="T18" fmla="*/ 2147483647 w 4163"/>
              <a:gd name="T19" fmla="*/ 2147483647 h 1509"/>
              <a:gd name="T20" fmla="*/ 2147483647 w 4163"/>
              <a:gd name="T21" fmla="*/ 2147483647 h 1509"/>
              <a:gd name="T22" fmla="*/ 2147483647 w 4163"/>
              <a:gd name="T23" fmla="*/ 2147483647 h 1509"/>
              <a:gd name="T24" fmla="*/ 2147483647 w 4163"/>
              <a:gd name="T25" fmla="*/ 2147483647 h 1509"/>
              <a:gd name="T26" fmla="*/ 2147483647 w 4163"/>
              <a:gd name="T27" fmla="*/ 2147483647 h 1509"/>
              <a:gd name="T28" fmla="*/ 2147483647 w 4163"/>
              <a:gd name="T29" fmla="*/ 2147483647 h 1509"/>
              <a:gd name="T30" fmla="*/ 2147483647 w 4163"/>
              <a:gd name="T31" fmla="*/ 2147483647 h 1509"/>
              <a:gd name="T32" fmla="*/ 2147483647 w 4163"/>
              <a:gd name="T33" fmla="*/ 2147483647 h 1509"/>
              <a:gd name="T34" fmla="*/ 2147483647 w 4163"/>
              <a:gd name="T35" fmla="*/ 2147483647 h 1509"/>
              <a:gd name="T36" fmla="*/ 2147483647 w 4163"/>
              <a:gd name="T37" fmla="*/ 2147483647 h 1509"/>
              <a:gd name="T38" fmla="*/ 2147483647 w 4163"/>
              <a:gd name="T39" fmla="*/ 2147483647 h 1509"/>
              <a:gd name="T40" fmla="*/ 2147483647 w 4163"/>
              <a:gd name="T41" fmla="*/ 2147483647 h 1509"/>
              <a:gd name="T42" fmla="*/ 2147483647 w 4163"/>
              <a:gd name="T43" fmla="*/ 2147483647 h 1509"/>
              <a:gd name="T44" fmla="*/ 2147483647 w 4163"/>
              <a:gd name="T45" fmla="*/ 2147483647 h 1509"/>
              <a:gd name="T46" fmla="*/ 2147483647 w 4163"/>
              <a:gd name="T47" fmla="*/ 2147483647 h 1509"/>
              <a:gd name="T48" fmla="*/ 2147483647 w 4163"/>
              <a:gd name="T49" fmla="*/ 2147483647 h 1509"/>
              <a:gd name="T50" fmla="*/ 2147483647 w 4163"/>
              <a:gd name="T51" fmla="*/ 2147483647 h 1509"/>
              <a:gd name="T52" fmla="*/ 2147483647 w 4163"/>
              <a:gd name="T53" fmla="*/ 2147483647 h 1509"/>
              <a:gd name="T54" fmla="*/ 2147483647 w 4163"/>
              <a:gd name="T55" fmla="*/ 2147483647 h 1509"/>
              <a:gd name="T56" fmla="*/ 2147483647 w 4163"/>
              <a:gd name="T57" fmla="*/ 2147483647 h 1509"/>
              <a:gd name="T58" fmla="*/ 2147483647 w 4163"/>
              <a:gd name="T59" fmla="*/ 2147483647 h 1509"/>
              <a:gd name="T60" fmla="*/ 2147483647 w 4163"/>
              <a:gd name="T61" fmla="*/ 2147483647 h 1509"/>
              <a:gd name="T62" fmla="*/ 2147483647 w 4163"/>
              <a:gd name="T63" fmla="*/ 2147483647 h 1509"/>
              <a:gd name="T64" fmla="*/ 2147483647 w 4163"/>
              <a:gd name="T65" fmla="*/ 2147483647 h 1509"/>
              <a:gd name="T66" fmla="*/ 2147483647 w 4163"/>
              <a:gd name="T67" fmla="*/ 2147483647 h 1509"/>
              <a:gd name="T68" fmla="*/ 2147483647 w 4163"/>
              <a:gd name="T69" fmla="*/ 2147483647 h 1509"/>
              <a:gd name="T70" fmla="*/ 2147483647 w 4163"/>
              <a:gd name="T71" fmla="*/ 2147483647 h 1509"/>
              <a:gd name="T72" fmla="*/ 2147483647 w 4163"/>
              <a:gd name="T73" fmla="*/ 2147483647 h 1509"/>
              <a:gd name="T74" fmla="*/ 2147483647 w 4163"/>
              <a:gd name="T75" fmla="*/ 2147483647 h 1509"/>
              <a:gd name="T76" fmla="*/ 2147483647 w 4163"/>
              <a:gd name="T77" fmla="*/ 2147483647 h 1509"/>
              <a:gd name="T78" fmla="*/ 2147483647 w 4163"/>
              <a:gd name="T79" fmla="*/ 2147483647 h 1509"/>
              <a:gd name="T80" fmla="*/ 2147483647 w 4163"/>
              <a:gd name="T81" fmla="*/ 2147483647 h 1509"/>
              <a:gd name="T82" fmla="*/ 2147483647 w 4163"/>
              <a:gd name="T83" fmla="*/ 2147483647 h 1509"/>
              <a:gd name="T84" fmla="*/ 2147483647 w 4163"/>
              <a:gd name="T85" fmla="*/ 2147483647 h 1509"/>
              <a:gd name="T86" fmla="*/ 2147483647 w 4163"/>
              <a:gd name="T87" fmla="*/ 2147483647 h 1509"/>
              <a:gd name="T88" fmla="*/ 2147483647 w 4163"/>
              <a:gd name="T89" fmla="*/ 2147483647 h 1509"/>
              <a:gd name="T90" fmla="*/ 2147483647 w 4163"/>
              <a:gd name="T91" fmla="*/ 2147483647 h 1509"/>
              <a:gd name="T92" fmla="*/ 2147483647 w 4163"/>
              <a:gd name="T93" fmla="*/ 2147483647 h 1509"/>
              <a:gd name="T94" fmla="*/ 2147483647 w 4163"/>
              <a:gd name="T95" fmla="*/ 2147483647 h 1509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4163" h="1509">
                <a:moveTo>
                  <a:pt x="2092" y="0"/>
                </a:moveTo>
                <a:lnTo>
                  <a:pt x="2187" y="1"/>
                </a:lnTo>
                <a:lnTo>
                  <a:pt x="2282" y="6"/>
                </a:lnTo>
                <a:lnTo>
                  <a:pt x="2376" y="15"/>
                </a:lnTo>
                <a:lnTo>
                  <a:pt x="2468" y="26"/>
                </a:lnTo>
                <a:lnTo>
                  <a:pt x="2560" y="41"/>
                </a:lnTo>
                <a:lnTo>
                  <a:pt x="2651" y="60"/>
                </a:lnTo>
                <a:lnTo>
                  <a:pt x="2741" y="80"/>
                </a:lnTo>
                <a:lnTo>
                  <a:pt x="2829" y="106"/>
                </a:lnTo>
                <a:lnTo>
                  <a:pt x="2917" y="132"/>
                </a:lnTo>
                <a:lnTo>
                  <a:pt x="3001" y="161"/>
                </a:lnTo>
                <a:lnTo>
                  <a:pt x="3085" y="194"/>
                </a:lnTo>
                <a:lnTo>
                  <a:pt x="3166" y="230"/>
                </a:lnTo>
                <a:lnTo>
                  <a:pt x="3245" y="266"/>
                </a:lnTo>
                <a:lnTo>
                  <a:pt x="3322" y="305"/>
                </a:lnTo>
                <a:lnTo>
                  <a:pt x="3396" y="348"/>
                </a:lnTo>
                <a:lnTo>
                  <a:pt x="3468" y="391"/>
                </a:lnTo>
                <a:lnTo>
                  <a:pt x="3537" y="438"/>
                </a:lnTo>
                <a:lnTo>
                  <a:pt x="3603" y="486"/>
                </a:lnTo>
                <a:lnTo>
                  <a:pt x="3665" y="537"/>
                </a:lnTo>
                <a:lnTo>
                  <a:pt x="3726" y="589"/>
                </a:lnTo>
                <a:lnTo>
                  <a:pt x="3781" y="642"/>
                </a:lnTo>
                <a:lnTo>
                  <a:pt x="3833" y="696"/>
                </a:lnTo>
                <a:lnTo>
                  <a:pt x="3882" y="753"/>
                </a:lnTo>
                <a:lnTo>
                  <a:pt x="4163" y="538"/>
                </a:lnTo>
                <a:lnTo>
                  <a:pt x="4030" y="1495"/>
                </a:lnTo>
                <a:lnTo>
                  <a:pt x="3068" y="1366"/>
                </a:lnTo>
                <a:lnTo>
                  <a:pt x="3335" y="1161"/>
                </a:lnTo>
                <a:lnTo>
                  <a:pt x="3293" y="1094"/>
                </a:lnTo>
                <a:lnTo>
                  <a:pt x="3248" y="1031"/>
                </a:lnTo>
                <a:lnTo>
                  <a:pt x="3197" y="968"/>
                </a:lnTo>
                <a:lnTo>
                  <a:pt x="3144" y="908"/>
                </a:lnTo>
                <a:lnTo>
                  <a:pt x="3086" y="852"/>
                </a:lnTo>
                <a:lnTo>
                  <a:pt x="3025" y="796"/>
                </a:lnTo>
                <a:lnTo>
                  <a:pt x="2961" y="744"/>
                </a:lnTo>
                <a:lnTo>
                  <a:pt x="2894" y="695"/>
                </a:lnTo>
                <a:lnTo>
                  <a:pt x="2823" y="648"/>
                </a:lnTo>
                <a:lnTo>
                  <a:pt x="2750" y="604"/>
                </a:lnTo>
                <a:lnTo>
                  <a:pt x="2674" y="563"/>
                </a:lnTo>
                <a:lnTo>
                  <a:pt x="2597" y="525"/>
                </a:lnTo>
                <a:lnTo>
                  <a:pt x="2516" y="491"/>
                </a:lnTo>
                <a:lnTo>
                  <a:pt x="2434" y="461"/>
                </a:lnTo>
                <a:lnTo>
                  <a:pt x="2350" y="433"/>
                </a:lnTo>
                <a:lnTo>
                  <a:pt x="2264" y="409"/>
                </a:lnTo>
                <a:lnTo>
                  <a:pt x="2177" y="389"/>
                </a:lnTo>
                <a:lnTo>
                  <a:pt x="2089" y="372"/>
                </a:lnTo>
                <a:lnTo>
                  <a:pt x="1999" y="360"/>
                </a:lnTo>
                <a:lnTo>
                  <a:pt x="1909" y="351"/>
                </a:lnTo>
                <a:lnTo>
                  <a:pt x="1817" y="347"/>
                </a:lnTo>
                <a:lnTo>
                  <a:pt x="1726" y="347"/>
                </a:lnTo>
                <a:lnTo>
                  <a:pt x="1633" y="351"/>
                </a:lnTo>
                <a:lnTo>
                  <a:pt x="1541" y="360"/>
                </a:lnTo>
                <a:lnTo>
                  <a:pt x="1449" y="372"/>
                </a:lnTo>
                <a:lnTo>
                  <a:pt x="1357" y="390"/>
                </a:lnTo>
                <a:lnTo>
                  <a:pt x="1266" y="413"/>
                </a:lnTo>
                <a:lnTo>
                  <a:pt x="1174" y="441"/>
                </a:lnTo>
                <a:lnTo>
                  <a:pt x="1083" y="472"/>
                </a:lnTo>
                <a:lnTo>
                  <a:pt x="994" y="510"/>
                </a:lnTo>
                <a:lnTo>
                  <a:pt x="905" y="553"/>
                </a:lnTo>
                <a:lnTo>
                  <a:pt x="819" y="601"/>
                </a:lnTo>
                <a:lnTo>
                  <a:pt x="733" y="654"/>
                </a:lnTo>
                <a:lnTo>
                  <a:pt x="650" y="714"/>
                </a:lnTo>
                <a:lnTo>
                  <a:pt x="568" y="778"/>
                </a:lnTo>
                <a:lnTo>
                  <a:pt x="487" y="848"/>
                </a:lnTo>
                <a:lnTo>
                  <a:pt x="410" y="924"/>
                </a:lnTo>
                <a:lnTo>
                  <a:pt x="334" y="1006"/>
                </a:lnTo>
                <a:lnTo>
                  <a:pt x="262" y="1094"/>
                </a:lnTo>
                <a:lnTo>
                  <a:pt x="191" y="1188"/>
                </a:lnTo>
                <a:lnTo>
                  <a:pt x="124" y="1289"/>
                </a:lnTo>
                <a:lnTo>
                  <a:pt x="61" y="1395"/>
                </a:lnTo>
                <a:lnTo>
                  <a:pt x="0" y="1509"/>
                </a:lnTo>
                <a:lnTo>
                  <a:pt x="51" y="1385"/>
                </a:lnTo>
                <a:lnTo>
                  <a:pt x="104" y="1268"/>
                </a:lnTo>
                <a:lnTo>
                  <a:pt x="162" y="1156"/>
                </a:lnTo>
                <a:lnTo>
                  <a:pt x="223" y="1050"/>
                </a:lnTo>
                <a:lnTo>
                  <a:pt x="286" y="950"/>
                </a:lnTo>
                <a:lnTo>
                  <a:pt x="354" y="855"/>
                </a:lnTo>
                <a:lnTo>
                  <a:pt x="424" y="766"/>
                </a:lnTo>
                <a:lnTo>
                  <a:pt x="496" y="682"/>
                </a:lnTo>
                <a:lnTo>
                  <a:pt x="571" y="604"/>
                </a:lnTo>
                <a:lnTo>
                  <a:pt x="649" y="532"/>
                </a:lnTo>
                <a:lnTo>
                  <a:pt x="729" y="463"/>
                </a:lnTo>
                <a:lnTo>
                  <a:pt x="812" y="400"/>
                </a:lnTo>
                <a:lnTo>
                  <a:pt x="895" y="343"/>
                </a:lnTo>
                <a:lnTo>
                  <a:pt x="981" y="290"/>
                </a:lnTo>
                <a:lnTo>
                  <a:pt x="1068" y="242"/>
                </a:lnTo>
                <a:lnTo>
                  <a:pt x="1157" y="198"/>
                </a:lnTo>
                <a:lnTo>
                  <a:pt x="1248" y="160"/>
                </a:lnTo>
                <a:lnTo>
                  <a:pt x="1339" y="125"/>
                </a:lnTo>
                <a:lnTo>
                  <a:pt x="1431" y="96"/>
                </a:lnTo>
                <a:lnTo>
                  <a:pt x="1525" y="69"/>
                </a:lnTo>
                <a:lnTo>
                  <a:pt x="1618" y="48"/>
                </a:lnTo>
                <a:lnTo>
                  <a:pt x="1713" y="30"/>
                </a:lnTo>
                <a:lnTo>
                  <a:pt x="1808" y="17"/>
                </a:lnTo>
                <a:lnTo>
                  <a:pt x="1903" y="7"/>
                </a:lnTo>
                <a:lnTo>
                  <a:pt x="1998" y="2"/>
                </a:lnTo>
                <a:lnTo>
                  <a:pt x="2092" y="0"/>
                </a:lnTo>
                <a:close/>
              </a:path>
            </a:pathLst>
          </a:custGeom>
          <a:solidFill>
            <a:srgbClr val="91D5CF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72009" tIns="0" rIns="0" bIns="0"/>
          <a:lstStyle/>
          <a:p>
            <a:endParaRPr lang="en-US" smtClean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10256" name="Freeform 5"/>
          <p:cNvSpPr>
            <a:spLocks/>
          </p:cNvSpPr>
          <p:nvPr/>
        </p:nvSpPr>
        <p:spPr bwMode="gray">
          <a:xfrm rot="6055536">
            <a:off x="5226844" y="3574257"/>
            <a:ext cx="2852737" cy="368300"/>
          </a:xfrm>
          <a:custGeom>
            <a:avLst/>
            <a:gdLst>
              <a:gd name="T0" fmla="*/ 2147483647 w 4163"/>
              <a:gd name="T1" fmla="*/ 2147483647 h 1509"/>
              <a:gd name="T2" fmla="*/ 2147483647 w 4163"/>
              <a:gd name="T3" fmla="*/ 2147483647 h 1509"/>
              <a:gd name="T4" fmla="*/ 2147483647 w 4163"/>
              <a:gd name="T5" fmla="*/ 2147483647 h 1509"/>
              <a:gd name="T6" fmla="*/ 2147483647 w 4163"/>
              <a:gd name="T7" fmla="*/ 2147483647 h 1509"/>
              <a:gd name="T8" fmla="*/ 2147483647 w 4163"/>
              <a:gd name="T9" fmla="*/ 2147483647 h 1509"/>
              <a:gd name="T10" fmla="*/ 2147483647 w 4163"/>
              <a:gd name="T11" fmla="*/ 2147483647 h 1509"/>
              <a:gd name="T12" fmla="*/ 2147483647 w 4163"/>
              <a:gd name="T13" fmla="*/ 2147483647 h 1509"/>
              <a:gd name="T14" fmla="*/ 2147483647 w 4163"/>
              <a:gd name="T15" fmla="*/ 2147483647 h 1509"/>
              <a:gd name="T16" fmla="*/ 2147483647 w 4163"/>
              <a:gd name="T17" fmla="*/ 2147483647 h 1509"/>
              <a:gd name="T18" fmla="*/ 2147483647 w 4163"/>
              <a:gd name="T19" fmla="*/ 2147483647 h 1509"/>
              <a:gd name="T20" fmla="*/ 2147483647 w 4163"/>
              <a:gd name="T21" fmla="*/ 2147483647 h 1509"/>
              <a:gd name="T22" fmla="*/ 2147483647 w 4163"/>
              <a:gd name="T23" fmla="*/ 2147483647 h 1509"/>
              <a:gd name="T24" fmla="*/ 2147483647 w 4163"/>
              <a:gd name="T25" fmla="*/ 2147483647 h 1509"/>
              <a:gd name="T26" fmla="*/ 2147483647 w 4163"/>
              <a:gd name="T27" fmla="*/ 2147483647 h 1509"/>
              <a:gd name="T28" fmla="*/ 2147483647 w 4163"/>
              <a:gd name="T29" fmla="*/ 2147483647 h 1509"/>
              <a:gd name="T30" fmla="*/ 2147483647 w 4163"/>
              <a:gd name="T31" fmla="*/ 2147483647 h 1509"/>
              <a:gd name="T32" fmla="*/ 2147483647 w 4163"/>
              <a:gd name="T33" fmla="*/ 2147483647 h 1509"/>
              <a:gd name="T34" fmla="*/ 2147483647 w 4163"/>
              <a:gd name="T35" fmla="*/ 2147483647 h 1509"/>
              <a:gd name="T36" fmla="*/ 2147483647 w 4163"/>
              <a:gd name="T37" fmla="*/ 2147483647 h 1509"/>
              <a:gd name="T38" fmla="*/ 2147483647 w 4163"/>
              <a:gd name="T39" fmla="*/ 2147483647 h 1509"/>
              <a:gd name="T40" fmla="*/ 2147483647 w 4163"/>
              <a:gd name="T41" fmla="*/ 2147483647 h 1509"/>
              <a:gd name="T42" fmla="*/ 2147483647 w 4163"/>
              <a:gd name="T43" fmla="*/ 2147483647 h 1509"/>
              <a:gd name="T44" fmla="*/ 2147483647 w 4163"/>
              <a:gd name="T45" fmla="*/ 2147483647 h 1509"/>
              <a:gd name="T46" fmla="*/ 2147483647 w 4163"/>
              <a:gd name="T47" fmla="*/ 2147483647 h 1509"/>
              <a:gd name="T48" fmla="*/ 2147483647 w 4163"/>
              <a:gd name="T49" fmla="*/ 2147483647 h 1509"/>
              <a:gd name="T50" fmla="*/ 2147483647 w 4163"/>
              <a:gd name="T51" fmla="*/ 2147483647 h 1509"/>
              <a:gd name="T52" fmla="*/ 2147483647 w 4163"/>
              <a:gd name="T53" fmla="*/ 2147483647 h 1509"/>
              <a:gd name="T54" fmla="*/ 2147483647 w 4163"/>
              <a:gd name="T55" fmla="*/ 2147483647 h 1509"/>
              <a:gd name="T56" fmla="*/ 2147483647 w 4163"/>
              <a:gd name="T57" fmla="*/ 2147483647 h 1509"/>
              <a:gd name="T58" fmla="*/ 2147483647 w 4163"/>
              <a:gd name="T59" fmla="*/ 2147483647 h 1509"/>
              <a:gd name="T60" fmla="*/ 2147483647 w 4163"/>
              <a:gd name="T61" fmla="*/ 2147483647 h 1509"/>
              <a:gd name="T62" fmla="*/ 2147483647 w 4163"/>
              <a:gd name="T63" fmla="*/ 2147483647 h 1509"/>
              <a:gd name="T64" fmla="*/ 2147483647 w 4163"/>
              <a:gd name="T65" fmla="*/ 2147483647 h 1509"/>
              <a:gd name="T66" fmla="*/ 2147483647 w 4163"/>
              <a:gd name="T67" fmla="*/ 2147483647 h 1509"/>
              <a:gd name="T68" fmla="*/ 2147483647 w 4163"/>
              <a:gd name="T69" fmla="*/ 2147483647 h 1509"/>
              <a:gd name="T70" fmla="*/ 2147483647 w 4163"/>
              <a:gd name="T71" fmla="*/ 2147483647 h 1509"/>
              <a:gd name="T72" fmla="*/ 2147483647 w 4163"/>
              <a:gd name="T73" fmla="*/ 2147483647 h 1509"/>
              <a:gd name="T74" fmla="*/ 2147483647 w 4163"/>
              <a:gd name="T75" fmla="*/ 2147483647 h 1509"/>
              <a:gd name="T76" fmla="*/ 2147483647 w 4163"/>
              <a:gd name="T77" fmla="*/ 2147483647 h 1509"/>
              <a:gd name="T78" fmla="*/ 2147483647 w 4163"/>
              <a:gd name="T79" fmla="*/ 2147483647 h 1509"/>
              <a:gd name="T80" fmla="*/ 2147483647 w 4163"/>
              <a:gd name="T81" fmla="*/ 2147483647 h 1509"/>
              <a:gd name="T82" fmla="*/ 2147483647 w 4163"/>
              <a:gd name="T83" fmla="*/ 2147483647 h 1509"/>
              <a:gd name="T84" fmla="*/ 2147483647 w 4163"/>
              <a:gd name="T85" fmla="*/ 2147483647 h 1509"/>
              <a:gd name="T86" fmla="*/ 2147483647 w 4163"/>
              <a:gd name="T87" fmla="*/ 2147483647 h 1509"/>
              <a:gd name="T88" fmla="*/ 2147483647 w 4163"/>
              <a:gd name="T89" fmla="*/ 2147483647 h 1509"/>
              <a:gd name="T90" fmla="*/ 2147483647 w 4163"/>
              <a:gd name="T91" fmla="*/ 2147483647 h 1509"/>
              <a:gd name="T92" fmla="*/ 2147483647 w 4163"/>
              <a:gd name="T93" fmla="*/ 2147483647 h 1509"/>
              <a:gd name="T94" fmla="*/ 2147483647 w 4163"/>
              <a:gd name="T95" fmla="*/ 2147483647 h 1509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4163" h="1509">
                <a:moveTo>
                  <a:pt x="2092" y="0"/>
                </a:moveTo>
                <a:lnTo>
                  <a:pt x="2187" y="1"/>
                </a:lnTo>
                <a:lnTo>
                  <a:pt x="2282" y="6"/>
                </a:lnTo>
                <a:lnTo>
                  <a:pt x="2376" y="15"/>
                </a:lnTo>
                <a:lnTo>
                  <a:pt x="2468" y="26"/>
                </a:lnTo>
                <a:lnTo>
                  <a:pt x="2560" y="41"/>
                </a:lnTo>
                <a:lnTo>
                  <a:pt x="2651" y="60"/>
                </a:lnTo>
                <a:lnTo>
                  <a:pt x="2741" y="80"/>
                </a:lnTo>
                <a:lnTo>
                  <a:pt x="2829" y="106"/>
                </a:lnTo>
                <a:lnTo>
                  <a:pt x="2917" y="132"/>
                </a:lnTo>
                <a:lnTo>
                  <a:pt x="3001" y="161"/>
                </a:lnTo>
                <a:lnTo>
                  <a:pt x="3085" y="194"/>
                </a:lnTo>
                <a:lnTo>
                  <a:pt x="3166" y="230"/>
                </a:lnTo>
                <a:lnTo>
                  <a:pt x="3245" y="266"/>
                </a:lnTo>
                <a:lnTo>
                  <a:pt x="3322" y="305"/>
                </a:lnTo>
                <a:lnTo>
                  <a:pt x="3396" y="348"/>
                </a:lnTo>
                <a:lnTo>
                  <a:pt x="3468" y="391"/>
                </a:lnTo>
                <a:lnTo>
                  <a:pt x="3537" y="438"/>
                </a:lnTo>
                <a:lnTo>
                  <a:pt x="3603" y="486"/>
                </a:lnTo>
                <a:lnTo>
                  <a:pt x="3665" y="537"/>
                </a:lnTo>
                <a:lnTo>
                  <a:pt x="3726" y="589"/>
                </a:lnTo>
                <a:lnTo>
                  <a:pt x="3781" y="642"/>
                </a:lnTo>
                <a:lnTo>
                  <a:pt x="3833" y="696"/>
                </a:lnTo>
                <a:lnTo>
                  <a:pt x="3882" y="753"/>
                </a:lnTo>
                <a:lnTo>
                  <a:pt x="4163" y="538"/>
                </a:lnTo>
                <a:lnTo>
                  <a:pt x="4030" y="1495"/>
                </a:lnTo>
                <a:lnTo>
                  <a:pt x="3068" y="1366"/>
                </a:lnTo>
                <a:lnTo>
                  <a:pt x="3335" y="1161"/>
                </a:lnTo>
                <a:lnTo>
                  <a:pt x="3293" y="1094"/>
                </a:lnTo>
                <a:lnTo>
                  <a:pt x="3248" y="1031"/>
                </a:lnTo>
                <a:lnTo>
                  <a:pt x="3197" y="968"/>
                </a:lnTo>
                <a:lnTo>
                  <a:pt x="3144" y="908"/>
                </a:lnTo>
                <a:lnTo>
                  <a:pt x="3086" y="852"/>
                </a:lnTo>
                <a:lnTo>
                  <a:pt x="3025" y="796"/>
                </a:lnTo>
                <a:lnTo>
                  <a:pt x="2961" y="744"/>
                </a:lnTo>
                <a:lnTo>
                  <a:pt x="2894" y="695"/>
                </a:lnTo>
                <a:lnTo>
                  <a:pt x="2823" y="648"/>
                </a:lnTo>
                <a:lnTo>
                  <a:pt x="2750" y="604"/>
                </a:lnTo>
                <a:lnTo>
                  <a:pt x="2674" y="563"/>
                </a:lnTo>
                <a:lnTo>
                  <a:pt x="2597" y="525"/>
                </a:lnTo>
                <a:lnTo>
                  <a:pt x="2516" y="491"/>
                </a:lnTo>
                <a:lnTo>
                  <a:pt x="2434" y="461"/>
                </a:lnTo>
                <a:lnTo>
                  <a:pt x="2350" y="433"/>
                </a:lnTo>
                <a:lnTo>
                  <a:pt x="2264" y="409"/>
                </a:lnTo>
                <a:lnTo>
                  <a:pt x="2177" y="389"/>
                </a:lnTo>
                <a:lnTo>
                  <a:pt x="2089" y="372"/>
                </a:lnTo>
                <a:lnTo>
                  <a:pt x="1999" y="360"/>
                </a:lnTo>
                <a:lnTo>
                  <a:pt x="1909" y="351"/>
                </a:lnTo>
                <a:lnTo>
                  <a:pt x="1817" y="347"/>
                </a:lnTo>
                <a:lnTo>
                  <a:pt x="1726" y="347"/>
                </a:lnTo>
                <a:lnTo>
                  <a:pt x="1633" y="351"/>
                </a:lnTo>
                <a:lnTo>
                  <a:pt x="1541" y="360"/>
                </a:lnTo>
                <a:lnTo>
                  <a:pt x="1449" y="372"/>
                </a:lnTo>
                <a:lnTo>
                  <a:pt x="1357" y="390"/>
                </a:lnTo>
                <a:lnTo>
                  <a:pt x="1266" y="413"/>
                </a:lnTo>
                <a:lnTo>
                  <a:pt x="1174" y="441"/>
                </a:lnTo>
                <a:lnTo>
                  <a:pt x="1083" y="472"/>
                </a:lnTo>
                <a:lnTo>
                  <a:pt x="994" y="510"/>
                </a:lnTo>
                <a:lnTo>
                  <a:pt x="905" y="553"/>
                </a:lnTo>
                <a:lnTo>
                  <a:pt x="819" y="601"/>
                </a:lnTo>
                <a:lnTo>
                  <a:pt x="733" y="654"/>
                </a:lnTo>
                <a:lnTo>
                  <a:pt x="650" y="714"/>
                </a:lnTo>
                <a:lnTo>
                  <a:pt x="568" y="778"/>
                </a:lnTo>
                <a:lnTo>
                  <a:pt x="487" y="848"/>
                </a:lnTo>
                <a:lnTo>
                  <a:pt x="410" y="924"/>
                </a:lnTo>
                <a:lnTo>
                  <a:pt x="334" y="1006"/>
                </a:lnTo>
                <a:lnTo>
                  <a:pt x="262" y="1094"/>
                </a:lnTo>
                <a:lnTo>
                  <a:pt x="191" y="1188"/>
                </a:lnTo>
                <a:lnTo>
                  <a:pt x="124" y="1289"/>
                </a:lnTo>
                <a:lnTo>
                  <a:pt x="61" y="1395"/>
                </a:lnTo>
                <a:lnTo>
                  <a:pt x="0" y="1509"/>
                </a:lnTo>
                <a:lnTo>
                  <a:pt x="51" y="1385"/>
                </a:lnTo>
                <a:lnTo>
                  <a:pt x="104" y="1268"/>
                </a:lnTo>
                <a:lnTo>
                  <a:pt x="162" y="1156"/>
                </a:lnTo>
                <a:lnTo>
                  <a:pt x="223" y="1050"/>
                </a:lnTo>
                <a:lnTo>
                  <a:pt x="286" y="950"/>
                </a:lnTo>
                <a:lnTo>
                  <a:pt x="354" y="855"/>
                </a:lnTo>
                <a:lnTo>
                  <a:pt x="424" y="766"/>
                </a:lnTo>
                <a:lnTo>
                  <a:pt x="496" y="682"/>
                </a:lnTo>
                <a:lnTo>
                  <a:pt x="571" y="604"/>
                </a:lnTo>
                <a:lnTo>
                  <a:pt x="649" y="532"/>
                </a:lnTo>
                <a:lnTo>
                  <a:pt x="729" y="463"/>
                </a:lnTo>
                <a:lnTo>
                  <a:pt x="812" y="400"/>
                </a:lnTo>
                <a:lnTo>
                  <a:pt x="895" y="343"/>
                </a:lnTo>
                <a:lnTo>
                  <a:pt x="981" y="290"/>
                </a:lnTo>
                <a:lnTo>
                  <a:pt x="1068" y="242"/>
                </a:lnTo>
                <a:lnTo>
                  <a:pt x="1157" y="198"/>
                </a:lnTo>
                <a:lnTo>
                  <a:pt x="1248" y="160"/>
                </a:lnTo>
                <a:lnTo>
                  <a:pt x="1339" y="125"/>
                </a:lnTo>
                <a:lnTo>
                  <a:pt x="1431" y="96"/>
                </a:lnTo>
                <a:lnTo>
                  <a:pt x="1525" y="69"/>
                </a:lnTo>
                <a:lnTo>
                  <a:pt x="1618" y="48"/>
                </a:lnTo>
                <a:lnTo>
                  <a:pt x="1713" y="30"/>
                </a:lnTo>
                <a:lnTo>
                  <a:pt x="1808" y="17"/>
                </a:lnTo>
                <a:lnTo>
                  <a:pt x="1903" y="7"/>
                </a:lnTo>
                <a:lnTo>
                  <a:pt x="1998" y="2"/>
                </a:lnTo>
                <a:lnTo>
                  <a:pt x="2092" y="0"/>
                </a:lnTo>
                <a:close/>
              </a:path>
            </a:pathLst>
          </a:custGeom>
          <a:solidFill>
            <a:srgbClr val="91D5CF"/>
          </a:solidFill>
          <a:ln w="127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72009" tIns="0" rIns="0" bIns="0"/>
          <a:lstStyle/>
          <a:p>
            <a:endParaRPr lang="en-US" smtClean="0">
              <a:solidFill>
                <a:srgbClr val="FFFFFF"/>
              </a:solidFill>
              <a:latin typeface="Arial" charset="0"/>
            </a:endParaRPr>
          </a:p>
        </p:txBody>
      </p:sp>
      <p:pic>
        <p:nvPicPr>
          <p:cNvPr id="10257" name="Picture 22" descr="http://www.homegatewayinitiative.org/img/logo.jpg"/>
          <p:cNvPicPr>
            <a:picLocks noGrp="1" noChangeAspect="1" noChangeArrowheads="1"/>
          </p:cNvPicPr>
          <p:nvPr>
            <p:ph idx="1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35013" y="1727200"/>
            <a:ext cx="1100137" cy="420688"/>
          </a:xfrm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" name="Rectangle 34"/>
          <p:cNvSpPr>
            <a:spLocks noChangeArrowheads="1"/>
          </p:cNvSpPr>
          <p:nvPr/>
        </p:nvSpPr>
        <p:spPr bwMode="auto">
          <a:xfrm>
            <a:off x="468313" y="2492375"/>
            <a:ext cx="2271712" cy="1422400"/>
          </a:xfrm>
          <a:prstGeom prst="rect">
            <a:avLst/>
          </a:prstGeom>
          <a:solidFill>
            <a:srgbClr val="FFFFFF">
              <a:alpha val="5098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86393" tIns="78229" rIns="51019" bIns="43196"/>
          <a:lstStyle>
            <a:lvl1pPr marL="342900" indent="-342900" eaLnBrk="0" hangingPunct="0">
              <a:lnSpc>
                <a:spcPct val="90000"/>
              </a:lnSpc>
              <a:defRPr>
                <a:solidFill>
                  <a:schemeClr val="tx1"/>
                </a:solidFill>
                <a:latin typeface="Tele-GroteskFet" pitchFamily="2" charset="0"/>
                <a:ea typeface="MS PGothic" pitchFamily="34" charset="-128"/>
              </a:defRPr>
            </a:lvl1pPr>
            <a:lvl2pPr marL="287338" indent="-285750" eaLnBrk="0" hangingPunct="0">
              <a:lnSpc>
                <a:spcPct val="90000"/>
              </a:lnSpc>
              <a:defRPr>
                <a:solidFill>
                  <a:schemeClr val="tx1"/>
                </a:solidFill>
                <a:latin typeface="Tele-GroteskNor" pitchFamily="2" charset="0"/>
                <a:ea typeface="MS PGothic" pitchFamily="34" charset="-128"/>
              </a:defRPr>
            </a:lvl2pPr>
            <a:lvl3pPr marL="687388" indent="-228600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Tele-GroteskNor" pitchFamily="2" charset="0"/>
                <a:ea typeface="MS PGothic" pitchFamily="34" charset="-128"/>
              </a:defRPr>
            </a:lvl3pPr>
            <a:lvl4pPr marL="1600200" indent="-228600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Tele-GroteskNor" pitchFamily="2" charset="0"/>
                <a:ea typeface="MS PGothic" pitchFamily="34" charset="-128"/>
              </a:defRPr>
            </a:lvl4pPr>
            <a:lvl5pPr marL="2057400" indent="-228600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Tele-GroteskNor" pitchFamily="2" charset="0"/>
                <a:ea typeface="MS PGothic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  <a:ea typeface="MS PGothic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  <a:ea typeface="MS PGothic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  <a:ea typeface="MS PGothic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>
                <a:solidFill>
                  <a:schemeClr val="tx1"/>
                </a:solidFill>
                <a:latin typeface="Tele-GroteskNor" pitchFamily="2" charset="0"/>
                <a:ea typeface="MS PGothic" pitchFamily="34" charset="-128"/>
              </a:defRPr>
            </a:lvl9pPr>
          </a:lstStyle>
          <a:p>
            <a:pPr marL="177800" lvl="1" indent="-176213" defTabSz="914400" eaLnBrk="1" hangingPunct="1">
              <a:buFont typeface="Wingdings" pitchFamily="2" charset="2"/>
              <a:buChar char="§"/>
              <a:defRPr/>
            </a:pPr>
            <a:r>
              <a:rPr lang="en-US" altLang="en-US" sz="1200" dirty="0" smtClean="0">
                <a:solidFill>
                  <a:srgbClr val="000000"/>
                </a:solidFill>
                <a:latin typeface="Calibri"/>
              </a:rPr>
              <a:t>Specification of </a:t>
            </a:r>
            <a:r>
              <a:rPr lang="en-US" altLang="en-US" sz="1200" b="1" dirty="0" smtClean="0">
                <a:solidFill>
                  <a:srgbClr val="000000"/>
                </a:solidFill>
                <a:latin typeface="Calibri"/>
              </a:rPr>
              <a:t>key components and technologies </a:t>
            </a:r>
            <a:r>
              <a:rPr lang="en-US" altLang="en-US" sz="1200" dirty="0" smtClean="0">
                <a:solidFill>
                  <a:srgbClr val="000000"/>
                </a:solidFill>
                <a:latin typeface="Calibri"/>
              </a:rPr>
              <a:t>for a platform and eco system approach </a:t>
            </a:r>
          </a:p>
          <a:p>
            <a:pPr marL="177800" lvl="1" indent="-176213" defTabSz="914400" eaLnBrk="1" hangingPunct="1">
              <a:buFont typeface="Wingdings" pitchFamily="2" charset="2"/>
              <a:buChar char="§"/>
              <a:defRPr/>
            </a:pPr>
            <a:r>
              <a:rPr lang="en-US" altLang="en-US" sz="1200" b="1" dirty="0" smtClean="0">
                <a:solidFill>
                  <a:srgbClr val="000000"/>
                </a:solidFill>
                <a:latin typeface="Calibri"/>
              </a:rPr>
              <a:t> </a:t>
            </a:r>
            <a:r>
              <a:rPr lang="en-US" altLang="en-US" sz="1200" dirty="0" smtClean="0">
                <a:solidFill>
                  <a:srgbClr val="000000"/>
                </a:solidFill>
                <a:latin typeface="Calibri"/>
              </a:rPr>
              <a:t>i.e. a </a:t>
            </a:r>
            <a:r>
              <a:rPr lang="en-US" altLang="en-US" sz="1200" b="1" dirty="0" smtClean="0">
                <a:solidFill>
                  <a:srgbClr val="000000"/>
                </a:solidFill>
                <a:latin typeface="Calibri"/>
              </a:rPr>
              <a:t>software execution </a:t>
            </a:r>
            <a:r>
              <a:rPr lang="en-US" altLang="en-US" sz="1200" dirty="0" smtClean="0">
                <a:solidFill>
                  <a:srgbClr val="000000"/>
                </a:solidFill>
                <a:latin typeface="Calibri"/>
              </a:rPr>
              <a:t>environment, related </a:t>
            </a:r>
            <a:r>
              <a:rPr lang="en-US" altLang="en-US" sz="1200" b="1" dirty="0" smtClean="0">
                <a:solidFill>
                  <a:srgbClr val="000000"/>
                </a:solidFill>
                <a:latin typeface="Calibri"/>
              </a:rPr>
              <a:t>management</a:t>
            </a:r>
            <a:r>
              <a:rPr lang="en-US" altLang="en-US" sz="1200" dirty="0" smtClean="0">
                <a:solidFill>
                  <a:srgbClr val="000000"/>
                </a:solidFill>
                <a:latin typeface="Calibri"/>
              </a:rPr>
              <a:t> protocol, </a:t>
            </a:r>
            <a:r>
              <a:rPr lang="en-US" altLang="en-US" sz="1200" b="1" dirty="0" smtClean="0">
                <a:solidFill>
                  <a:srgbClr val="000000"/>
                </a:solidFill>
                <a:latin typeface="Calibri"/>
              </a:rPr>
              <a:t>test</a:t>
            </a:r>
            <a:r>
              <a:rPr lang="en-US" altLang="en-US" sz="1200" dirty="0" smtClean="0">
                <a:solidFill>
                  <a:srgbClr val="000000"/>
                </a:solidFill>
                <a:latin typeface="Calibri"/>
              </a:rPr>
              <a:t> suite; and logo program</a:t>
            </a:r>
          </a:p>
          <a:p>
            <a:pPr marL="177800" lvl="1" indent="-176213" defTabSz="914400" eaLnBrk="1" hangingPunct="1">
              <a:buFont typeface="Wingdings" pitchFamily="2" charset="2"/>
              <a:buChar char="§"/>
              <a:defRPr/>
            </a:pPr>
            <a:r>
              <a:rPr lang="en-US" altLang="en-US" sz="1200" dirty="0" smtClean="0">
                <a:solidFill>
                  <a:srgbClr val="000000"/>
                </a:solidFill>
                <a:latin typeface="Calibri"/>
              </a:rPr>
              <a:t>Cross-reference to other organizations</a:t>
            </a:r>
          </a:p>
          <a:p>
            <a:pPr lvl="1" defTabSz="914400" eaLnBrk="1" hangingPunct="1">
              <a:buFont typeface="Wingdings" pitchFamily="2" charset="2"/>
              <a:buChar char="§"/>
              <a:defRPr/>
            </a:pPr>
            <a:endParaRPr lang="en-US" altLang="en-US" sz="1200" dirty="0" smtClean="0">
              <a:solidFill>
                <a:srgbClr val="000000"/>
              </a:solidFill>
              <a:latin typeface="Calibri"/>
            </a:endParaRPr>
          </a:p>
          <a:p>
            <a:pPr lvl="2" defTabSz="914400" eaLnBrk="1" hangingPunct="1">
              <a:buFont typeface="Arial" pitchFamily="34" charset="0"/>
              <a:buChar char="•"/>
              <a:defRPr/>
            </a:pPr>
            <a:endParaRPr lang="en-US" altLang="en-US" sz="1200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0" name="Rectangle 34"/>
          <p:cNvSpPr>
            <a:spLocks noChangeArrowheads="1"/>
          </p:cNvSpPr>
          <p:nvPr/>
        </p:nvSpPr>
        <p:spPr bwMode="auto">
          <a:xfrm>
            <a:off x="2947988" y="2509838"/>
            <a:ext cx="1857375" cy="1422400"/>
          </a:xfrm>
          <a:prstGeom prst="rect">
            <a:avLst/>
          </a:prstGeom>
          <a:solidFill>
            <a:srgbClr val="FFFFFF">
              <a:alpha val="5098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86393" tIns="78229" rIns="51019" bIns="43196"/>
          <a:lstStyle/>
          <a:p>
            <a:pPr marL="177800" lvl="1" indent="-176213" defTabSz="914400">
              <a:lnSpc>
                <a:spcPct val="90000"/>
              </a:lnSpc>
              <a:buFont typeface="Wingdings" pitchFamily="2" charset="2"/>
              <a:buChar char="§"/>
              <a:defRPr/>
            </a:pPr>
            <a:r>
              <a:rPr lang="en-US" altLang="en-US" sz="1200" dirty="0" smtClean="0">
                <a:solidFill>
                  <a:srgbClr val="000000"/>
                </a:solidFill>
                <a:latin typeface="Calibri"/>
                <a:ea typeface="MS PGothic" pitchFamily="34" charset="-128"/>
              </a:rPr>
              <a:t>Service Provider’s </a:t>
            </a:r>
            <a:r>
              <a:rPr lang="en-US" altLang="en-US" sz="1200" b="1" dirty="0">
                <a:solidFill>
                  <a:srgbClr val="000000"/>
                </a:solidFill>
                <a:latin typeface="Calibri"/>
                <a:ea typeface="MS PGothic" pitchFamily="34" charset="-128"/>
              </a:rPr>
              <a:t>requirements for wireless home area networks </a:t>
            </a:r>
            <a:r>
              <a:rPr lang="en-US" altLang="en-US" sz="1200" dirty="0">
                <a:solidFill>
                  <a:srgbClr val="000000"/>
                </a:solidFill>
                <a:latin typeface="Calibri"/>
                <a:ea typeface="MS PGothic" pitchFamily="34" charset="-128"/>
              </a:rPr>
              <a:t>supporting smart home services</a:t>
            </a:r>
          </a:p>
          <a:p>
            <a:pPr marL="177800" lvl="1" indent="-176213" defTabSz="914400">
              <a:lnSpc>
                <a:spcPct val="90000"/>
              </a:lnSpc>
              <a:buFont typeface="Wingdings" pitchFamily="2" charset="2"/>
              <a:buChar char="§"/>
              <a:defRPr/>
            </a:pPr>
            <a:r>
              <a:rPr lang="en-US" altLang="en-US" sz="1200" dirty="0">
                <a:solidFill>
                  <a:srgbClr val="000000"/>
                </a:solidFill>
                <a:latin typeface="Calibri"/>
                <a:ea typeface="MS PGothic" pitchFamily="34" charset="-128"/>
              </a:rPr>
              <a:t>In cooperation with organizations like </a:t>
            </a:r>
            <a:r>
              <a:rPr lang="en-US" altLang="en-US" sz="1200" dirty="0" err="1">
                <a:solidFill>
                  <a:srgbClr val="000000"/>
                </a:solidFill>
                <a:latin typeface="Calibri"/>
                <a:ea typeface="MS PGothic" pitchFamily="34" charset="-128"/>
              </a:rPr>
              <a:t>Zigbee</a:t>
            </a:r>
            <a:r>
              <a:rPr lang="en-US" altLang="en-US" sz="1200" dirty="0">
                <a:solidFill>
                  <a:srgbClr val="000000"/>
                </a:solidFill>
                <a:latin typeface="Calibri"/>
                <a:ea typeface="MS PGothic" pitchFamily="34" charset="-128"/>
              </a:rPr>
              <a:t>, </a:t>
            </a:r>
            <a:r>
              <a:rPr lang="en-US" altLang="en-US" sz="1200" dirty="0" err="1">
                <a:solidFill>
                  <a:srgbClr val="000000"/>
                </a:solidFill>
                <a:latin typeface="Calibri"/>
                <a:ea typeface="MS PGothic" pitchFamily="34" charset="-128"/>
              </a:rPr>
              <a:t>EnOcean</a:t>
            </a:r>
            <a:r>
              <a:rPr lang="en-US" altLang="en-US" sz="1200" dirty="0">
                <a:solidFill>
                  <a:srgbClr val="000000"/>
                </a:solidFill>
                <a:latin typeface="Calibri"/>
                <a:ea typeface="MS PGothic" pitchFamily="34" charset="-128"/>
              </a:rPr>
              <a:t> and ULE Alliances.</a:t>
            </a:r>
          </a:p>
          <a:p>
            <a:pPr marL="177800" lvl="1" indent="-176213" defTabSz="914400">
              <a:lnSpc>
                <a:spcPct val="90000"/>
              </a:lnSpc>
              <a:buFont typeface="Wingdings" pitchFamily="2" charset="2"/>
              <a:buChar char="§"/>
              <a:defRPr/>
            </a:pPr>
            <a:endParaRPr lang="en-US" altLang="en-US" sz="1200" dirty="0">
              <a:solidFill>
                <a:srgbClr val="000000"/>
              </a:solidFill>
              <a:latin typeface="Calibri"/>
              <a:ea typeface="MS PGothic" pitchFamily="34" charset="-128"/>
            </a:endParaRPr>
          </a:p>
        </p:txBody>
      </p:sp>
      <p:sp>
        <p:nvSpPr>
          <p:cNvPr id="41" name="Rectangle 34"/>
          <p:cNvSpPr>
            <a:spLocks noChangeArrowheads="1"/>
          </p:cNvSpPr>
          <p:nvPr/>
        </p:nvSpPr>
        <p:spPr bwMode="auto">
          <a:xfrm>
            <a:off x="4991100" y="2511425"/>
            <a:ext cx="1884363" cy="1422400"/>
          </a:xfrm>
          <a:prstGeom prst="rect">
            <a:avLst/>
          </a:prstGeom>
          <a:noFill/>
          <a:ln>
            <a:noFill/>
          </a:ln>
          <a:extLst/>
        </p:spPr>
        <p:txBody>
          <a:bodyPr lIns="86393" tIns="78229" rIns="51019" bIns="43196"/>
          <a:lstStyle/>
          <a:p>
            <a:pPr marL="177800" lvl="1" indent="-176213" defTabSz="914400">
              <a:lnSpc>
                <a:spcPct val="90000"/>
              </a:lnSpc>
              <a:buFont typeface="Wingdings" pitchFamily="2" charset="2"/>
              <a:buChar char="§"/>
              <a:defRPr/>
            </a:pPr>
            <a:r>
              <a:rPr lang="en-US" altLang="en-US" sz="1200" dirty="0">
                <a:solidFill>
                  <a:srgbClr val="000000"/>
                </a:solidFill>
                <a:latin typeface="Calibri"/>
                <a:ea typeface="MS PGothic" pitchFamily="34" charset="-128"/>
              </a:rPr>
              <a:t>Smart Home </a:t>
            </a:r>
            <a:r>
              <a:rPr lang="en-US" altLang="en-US" sz="1200" b="1" dirty="0">
                <a:solidFill>
                  <a:srgbClr val="000000"/>
                </a:solidFill>
                <a:latin typeface="Calibri"/>
                <a:ea typeface="MS PGothic" pitchFamily="34" charset="-128"/>
              </a:rPr>
              <a:t>Reference Architecture </a:t>
            </a:r>
            <a:r>
              <a:rPr lang="en-US" altLang="en-US" sz="1200" dirty="0">
                <a:solidFill>
                  <a:srgbClr val="000000"/>
                </a:solidFill>
                <a:latin typeface="Calibri"/>
                <a:ea typeface="MS PGothic" pitchFamily="34" charset="-128"/>
              </a:rPr>
              <a:t>introducing an abstraction layer</a:t>
            </a:r>
          </a:p>
          <a:p>
            <a:pPr marL="177800" lvl="1" indent="-176213" defTabSz="914400">
              <a:lnSpc>
                <a:spcPct val="90000"/>
              </a:lnSpc>
              <a:buFont typeface="Wingdings" pitchFamily="2" charset="2"/>
              <a:buChar char="§"/>
              <a:defRPr/>
            </a:pPr>
            <a:r>
              <a:rPr lang="en-US" altLang="en-US" sz="1200" b="1" dirty="0">
                <a:solidFill>
                  <a:srgbClr val="000000"/>
                </a:solidFill>
                <a:latin typeface="Calibri"/>
                <a:ea typeface="MS PGothic" pitchFamily="34" charset="-128"/>
              </a:rPr>
              <a:t>Smart</a:t>
            </a:r>
            <a:r>
              <a:rPr lang="en-US" altLang="en-US" sz="1200" dirty="0">
                <a:solidFill>
                  <a:srgbClr val="000000"/>
                </a:solidFill>
                <a:latin typeface="Calibri"/>
                <a:ea typeface="MS PGothic" pitchFamily="34" charset="-128"/>
              </a:rPr>
              <a:t> </a:t>
            </a:r>
            <a:r>
              <a:rPr lang="en-US" altLang="en-US" sz="1200" b="1" dirty="0" smtClean="0">
                <a:solidFill>
                  <a:srgbClr val="000000"/>
                </a:solidFill>
                <a:latin typeface="Calibri"/>
                <a:ea typeface="MS PGothic" pitchFamily="34" charset="-128"/>
              </a:rPr>
              <a:t>Device </a:t>
            </a:r>
            <a:r>
              <a:rPr lang="en-US" altLang="en-US" sz="1200" b="1" dirty="0">
                <a:solidFill>
                  <a:srgbClr val="000000"/>
                </a:solidFill>
                <a:latin typeface="Calibri"/>
                <a:ea typeface="MS PGothic" pitchFamily="34" charset="-128"/>
              </a:rPr>
              <a:t>Template</a:t>
            </a:r>
            <a:r>
              <a:rPr lang="en-US" altLang="en-US" sz="1200" dirty="0">
                <a:solidFill>
                  <a:srgbClr val="000000"/>
                </a:solidFill>
                <a:latin typeface="Calibri"/>
                <a:ea typeface="MS PGothic" pitchFamily="34" charset="-128"/>
              </a:rPr>
              <a:t>; to enable unification of device model semantics and provide unified APIs for application developers </a:t>
            </a:r>
          </a:p>
          <a:p>
            <a:pPr marL="177800" lvl="1" indent="-176213" defTabSz="914400">
              <a:lnSpc>
                <a:spcPct val="90000"/>
              </a:lnSpc>
              <a:buFont typeface="Wingdings" pitchFamily="2" charset="2"/>
              <a:buChar char="§"/>
              <a:defRPr/>
            </a:pPr>
            <a:endParaRPr lang="en-US" altLang="en-US" sz="1200" dirty="0">
              <a:solidFill>
                <a:srgbClr val="000000"/>
              </a:solidFill>
              <a:latin typeface="Calibri"/>
              <a:ea typeface="MS PGothic" pitchFamily="34" charset="-128"/>
            </a:endParaRPr>
          </a:p>
          <a:p>
            <a:pPr marL="177800" lvl="1" indent="-176213" defTabSz="914400">
              <a:lnSpc>
                <a:spcPct val="90000"/>
              </a:lnSpc>
              <a:buFont typeface="Wingdings" pitchFamily="2" charset="2"/>
              <a:buChar char="§"/>
              <a:defRPr/>
            </a:pPr>
            <a:endParaRPr lang="en-US" altLang="en-US" sz="1200" dirty="0">
              <a:solidFill>
                <a:srgbClr val="000000"/>
              </a:solidFill>
              <a:latin typeface="Calibri"/>
              <a:ea typeface="MS PGothic" pitchFamily="34" charset="-128"/>
            </a:endParaRPr>
          </a:p>
        </p:txBody>
      </p:sp>
      <p:sp>
        <p:nvSpPr>
          <p:cNvPr id="10261" name="TextBox 41"/>
          <p:cNvSpPr txBox="1">
            <a:spLocks noChangeArrowheads="1"/>
          </p:cNvSpPr>
          <p:nvPr/>
        </p:nvSpPr>
        <p:spPr bwMode="auto">
          <a:xfrm>
            <a:off x="1052513" y="4648200"/>
            <a:ext cx="1270000" cy="693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de-DE" altLang="en-US" sz="1400" b="1" smtClean="0">
                <a:solidFill>
                  <a:srgbClr val="257A8B"/>
                </a:solidFill>
                <a:latin typeface="Arial" charset="0"/>
              </a:rPr>
              <a:t>Open </a:t>
            </a:r>
          </a:p>
          <a:p>
            <a:r>
              <a:rPr lang="de-DE" altLang="en-US" sz="1400" b="1" smtClean="0">
                <a:solidFill>
                  <a:srgbClr val="257A8B"/>
                </a:solidFill>
                <a:latin typeface="Arial" charset="0"/>
              </a:rPr>
              <a:t>Plattform 2.0</a:t>
            </a:r>
          </a:p>
          <a:p>
            <a:r>
              <a:rPr lang="de-DE" altLang="en-US" sz="1100" b="1" smtClean="0">
                <a:solidFill>
                  <a:srgbClr val="257A8B"/>
                </a:solidFill>
                <a:latin typeface="Arial" charset="0"/>
              </a:rPr>
              <a:t>(SWEX)</a:t>
            </a:r>
            <a:endParaRPr lang="en-US" altLang="en-US" sz="1100" b="1" smtClean="0">
              <a:solidFill>
                <a:srgbClr val="257A8B"/>
              </a:solidFill>
              <a:latin typeface="Arial" charset="0"/>
            </a:endParaRPr>
          </a:p>
        </p:txBody>
      </p:sp>
      <p:sp>
        <p:nvSpPr>
          <p:cNvPr id="10262" name="TextBox 42"/>
          <p:cNvSpPr txBox="1">
            <a:spLocks noChangeArrowheads="1"/>
          </p:cNvSpPr>
          <p:nvPr/>
        </p:nvSpPr>
        <p:spPr bwMode="auto">
          <a:xfrm>
            <a:off x="3121025" y="4652963"/>
            <a:ext cx="1379538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de-DE" altLang="en-US" sz="1400" b="1" dirty="0" smtClean="0">
                <a:solidFill>
                  <a:srgbClr val="257A8B"/>
                </a:solidFill>
                <a:latin typeface="Arial" charset="0"/>
              </a:rPr>
              <a:t>WHAN</a:t>
            </a:r>
          </a:p>
          <a:p>
            <a:r>
              <a:rPr lang="de-DE" altLang="en-US" sz="1400" b="1" dirty="0" err="1" smtClean="0">
                <a:solidFill>
                  <a:srgbClr val="257A8B"/>
                </a:solidFill>
                <a:latin typeface="Arial" charset="0"/>
              </a:rPr>
              <a:t>Requirements</a:t>
            </a:r>
            <a:endParaRPr lang="de-DE" altLang="en-US" sz="1400" b="1" dirty="0" smtClean="0">
              <a:solidFill>
                <a:srgbClr val="257A8B"/>
              </a:solidFill>
              <a:latin typeface="Arial" charset="0"/>
            </a:endParaRPr>
          </a:p>
        </p:txBody>
      </p:sp>
      <p:sp>
        <p:nvSpPr>
          <p:cNvPr id="10263" name="TextBox 43"/>
          <p:cNvSpPr txBox="1">
            <a:spLocks noChangeArrowheads="1"/>
          </p:cNvSpPr>
          <p:nvPr/>
        </p:nvSpPr>
        <p:spPr bwMode="auto">
          <a:xfrm>
            <a:off x="5441655" y="2162175"/>
            <a:ext cx="58261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de-DE" altLang="en-US" sz="1400" b="1" dirty="0" smtClean="0">
                <a:solidFill>
                  <a:srgbClr val="000000"/>
                </a:solidFill>
                <a:latin typeface="Arial" charset="0"/>
              </a:rPr>
              <a:t>2015</a:t>
            </a:r>
          </a:p>
        </p:txBody>
      </p:sp>
      <p:pic>
        <p:nvPicPr>
          <p:cNvPr id="10264" name="Picture 30" descr="http://www.mandate376.eu/img/ETSI%20Logo_Press.jpg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7763" y="5157788"/>
            <a:ext cx="620712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5" name="Bild 49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0475" y="5424488"/>
            <a:ext cx="454025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6" name="Picture 8" descr="C:\Users\tje\Desktop\Sammlung\esh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263" y="5051425"/>
            <a:ext cx="962025" cy="173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7" name="Picture 32" descr="http://www.mandate376.eu/img/LogoDefPMS.jpg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263" y="5195888"/>
            <a:ext cx="407987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8" name="Picture 20" descr="http://cdn.coolest-gadgets.com/wp-content/uploads/zigbee-alliance.jp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8300" y="5967413"/>
            <a:ext cx="492125" cy="198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9" name="Bild 34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8588" y="5416550"/>
            <a:ext cx="57467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0" name="Picture 26" descr="http://www.smarthomes2011.com/Images/OSGi_Alliance_RGB.jp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6288" y="5364163"/>
            <a:ext cx="547687" cy="255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7" name="TextBox 56"/>
          <p:cNvSpPr txBox="1"/>
          <p:nvPr/>
        </p:nvSpPr>
        <p:spPr>
          <a:xfrm>
            <a:off x="5556250" y="5229324"/>
            <a:ext cx="441325" cy="2159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de-DE" sz="800" b="1" dirty="0" err="1">
                <a:solidFill>
                  <a:srgbClr val="3333CC">
                    <a:lumMod val="75000"/>
                  </a:srgbClr>
                </a:solidFill>
              </a:rPr>
              <a:t>vorto</a:t>
            </a:r>
            <a:endParaRPr lang="en-US" sz="800" b="1" dirty="0">
              <a:solidFill>
                <a:srgbClr val="3333CC">
                  <a:lumMod val="75000"/>
                </a:srgbClr>
              </a:solidFill>
            </a:endParaRPr>
          </a:p>
        </p:txBody>
      </p:sp>
      <p:sp>
        <p:nvSpPr>
          <p:cNvPr id="10272" name="TextBox 57"/>
          <p:cNvSpPr txBox="1">
            <a:spLocks noChangeArrowheads="1"/>
          </p:cNvSpPr>
          <p:nvPr/>
        </p:nvSpPr>
        <p:spPr bwMode="auto">
          <a:xfrm>
            <a:off x="5508625" y="4581525"/>
            <a:ext cx="6985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de-DE" altLang="en-US" sz="2000" b="1" dirty="0" smtClean="0">
                <a:solidFill>
                  <a:srgbClr val="257A8B"/>
                </a:solidFill>
                <a:latin typeface="Arial" charset="0"/>
              </a:rPr>
              <a:t>SDT</a:t>
            </a:r>
          </a:p>
        </p:txBody>
      </p:sp>
      <p:sp>
        <p:nvSpPr>
          <p:cNvPr id="10273" name="TextBox 58"/>
          <p:cNvSpPr txBox="1">
            <a:spLocks noChangeArrowheads="1"/>
          </p:cNvSpPr>
          <p:nvPr/>
        </p:nvSpPr>
        <p:spPr bwMode="auto">
          <a:xfrm>
            <a:off x="7137400" y="2133600"/>
            <a:ext cx="1903413" cy="1168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en-US" altLang="en-US" sz="1400" b="1" dirty="0" smtClean="0">
                <a:solidFill>
                  <a:srgbClr val="257A8B"/>
                </a:solidFill>
                <a:latin typeface="Arial" charset="0"/>
              </a:rPr>
              <a:t>Industry wide effort:</a:t>
            </a:r>
          </a:p>
          <a:p>
            <a:pPr algn="ctr"/>
            <a:r>
              <a:rPr lang="de-DE" altLang="en-US" sz="1400" b="1" dirty="0" smtClean="0">
                <a:solidFill>
                  <a:srgbClr val="000000"/>
                </a:solidFill>
                <a:latin typeface="Arial" charset="0"/>
              </a:rPr>
              <a:t>Reference </a:t>
            </a:r>
          </a:p>
          <a:p>
            <a:pPr algn="ctr"/>
            <a:r>
              <a:rPr lang="en-US" altLang="en-US" sz="1400" b="1" dirty="0" smtClean="0">
                <a:solidFill>
                  <a:srgbClr val="000000"/>
                </a:solidFill>
                <a:latin typeface="Arial" charset="0"/>
              </a:rPr>
              <a:t>Implementations,</a:t>
            </a:r>
          </a:p>
          <a:p>
            <a:pPr algn="ctr"/>
            <a:r>
              <a:rPr lang="en-US" altLang="en-US" sz="1400" b="1" dirty="0" smtClean="0">
                <a:solidFill>
                  <a:srgbClr val="000000"/>
                </a:solidFill>
                <a:latin typeface="Arial" charset="0"/>
              </a:rPr>
              <a:t>Tools,</a:t>
            </a:r>
          </a:p>
          <a:p>
            <a:pPr algn="ctr"/>
            <a:r>
              <a:rPr lang="en-US" altLang="en-US" sz="1400" b="1" dirty="0" smtClean="0">
                <a:solidFill>
                  <a:srgbClr val="000000"/>
                </a:solidFill>
                <a:latin typeface="Arial" charset="0"/>
              </a:rPr>
              <a:t>Testing</a:t>
            </a:r>
          </a:p>
        </p:txBody>
      </p:sp>
      <p:grpSp>
        <p:nvGrpSpPr>
          <p:cNvPr id="44" name="Gruppierung 12"/>
          <p:cNvGrpSpPr>
            <a:grpSpLocks/>
          </p:cNvGrpSpPr>
          <p:nvPr/>
        </p:nvGrpSpPr>
        <p:grpSpPr bwMode="auto">
          <a:xfrm>
            <a:off x="7457035" y="3628109"/>
            <a:ext cx="1305237" cy="1659431"/>
            <a:chOff x="914400" y="1371601"/>
            <a:chExt cx="3176579" cy="4038600"/>
          </a:xfrm>
        </p:grpSpPr>
        <p:pic>
          <p:nvPicPr>
            <p:cNvPr id="45" name="Bild 4"/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4400" y="1371601"/>
              <a:ext cx="3176579" cy="4038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6" name="Rechteck 10"/>
            <p:cNvSpPr>
              <a:spLocks noChangeArrowheads="1"/>
            </p:cNvSpPr>
            <p:nvPr/>
          </p:nvSpPr>
          <p:spPr bwMode="auto">
            <a:xfrm>
              <a:off x="1219199" y="4724400"/>
              <a:ext cx="2667001" cy="4572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lnSpc>
                  <a:spcPct val="98000"/>
                </a:lnSpc>
                <a:spcBef>
                  <a:spcPts val="650"/>
                </a:spcBef>
                <a:buFont typeface="Arial" charset="0"/>
                <a:buChar char="•"/>
                <a:defRPr sz="3200">
                  <a:solidFill>
                    <a:srgbClr val="04617B"/>
                  </a:solidFill>
                  <a:latin typeface="Calibri" pitchFamily="34" charset="0"/>
                  <a:ea typeface="Lucida Sans Unicode" pitchFamily="34" charset="0"/>
                  <a:cs typeface="Lucida Sans Unicode" pitchFamily="34" charset="0"/>
                </a:defRPr>
              </a:lvl1pPr>
              <a:lvl2pPr marL="37931725" indent="-37474525" eaLnBrk="0" hangingPunct="0">
                <a:lnSpc>
                  <a:spcPct val="98000"/>
                </a:lnSpc>
                <a:spcBef>
                  <a:spcPts val="600"/>
                </a:spcBef>
                <a:buFont typeface="Arial" charset="0"/>
                <a:buChar char="•"/>
                <a:defRPr sz="2800">
                  <a:solidFill>
                    <a:srgbClr val="04617B"/>
                  </a:solidFill>
                  <a:latin typeface="Calibri" pitchFamily="34" charset="0"/>
                  <a:ea typeface="Lucida Sans Unicode" pitchFamily="34" charset="0"/>
                  <a:cs typeface="Lucida Sans Unicode" pitchFamily="34" charset="0"/>
                </a:defRPr>
              </a:lvl2pPr>
              <a:lvl3pPr eaLnBrk="0" hangingPunct="0">
                <a:lnSpc>
                  <a:spcPct val="98000"/>
                </a:lnSpc>
                <a:spcBef>
                  <a:spcPts val="525"/>
                </a:spcBef>
                <a:buFont typeface="Arial" charset="0"/>
                <a:buChar char="•"/>
                <a:defRPr sz="2400">
                  <a:solidFill>
                    <a:srgbClr val="04617B"/>
                  </a:solidFill>
                  <a:latin typeface="Calibri" pitchFamily="34" charset="0"/>
                  <a:ea typeface="Lucida Sans Unicode" pitchFamily="34" charset="0"/>
                  <a:cs typeface="Lucida Sans Unicode" pitchFamily="34" charset="0"/>
                </a:defRPr>
              </a:lvl3pPr>
              <a:lvl4pPr eaLnBrk="0" hangingPunct="0">
                <a:lnSpc>
                  <a:spcPct val="98000"/>
                </a:lnSpc>
                <a:spcBef>
                  <a:spcPts val="500"/>
                </a:spcBef>
                <a:buFont typeface="Arial" charset="0"/>
                <a:buChar char="•"/>
                <a:defRPr sz="2400">
                  <a:solidFill>
                    <a:srgbClr val="04617B"/>
                  </a:solidFill>
                  <a:latin typeface="Calibri" pitchFamily="34" charset="0"/>
                  <a:ea typeface="Lucida Sans Unicode" pitchFamily="34" charset="0"/>
                  <a:cs typeface="Lucida Sans Unicode" pitchFamily="34" charset="0"/>
                </a:defRPr>
              </a:lvl4pPr>
              <a:lvl5pPr eaLnBrk="0" hangingPunct="0">
                <a:lnSpc>
                  <a:spcPct val="98000"/>
                </a:lnSpc>
                <a:spcBef>
                  <a:spcPts val="500"/>
                </a:spcBef>
                <a:buFont typeface="Arial" charset="0"/>
                <a:buChar char="•"/>
                <a:defRPr sz="2000">
                  <a:solidFill>
                    <a:srgbClr val="04617B"/>
                  </a:solidFill>
                  <a:latin typeface="Calibri" pitchFamily="34" charset="0"/>
                  <a:ea typeface="Lucida Sans Unicode" pitchFamily="34" charset="0"/>
                  <a:cs typeface="Lucida Sans Unicode" pitchFamily="34" charset="0"/>
                </a:defRPr>
              </a:lvl5pPr>
              <a:lvl6pPr marL="2514600" indent="-228600" defTabSz="449263" eaLnBrk="0" fontAlgn="base" hangingPunct="0">
                <a:lnSpc>
                  <a:spcPct val="98000"/>
                </a:lnSpc>
                <a:spcBef>
                  <a:spcPts val="5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Arial" charset="0"/>
                <a:buChar char="•"/>
                <a:defRPr sz="2000">
                  <a:solidFill>
                    <a:srgbClr val="04617B"/>
                  </a:solidFill>
                  <a:latin typeface="Calibri" pitchFamily="34" charset="0"/>
                  <a:ea typeface="Lucida Sans Unicode" pitchFamily="34" charset="0"/>
                  <a:cs typeface="Lucida Sans Unicode" pitchFamily="34" charset="0"/>
                </a:defRPr>
              </a:lvl6pPr>
              <a:lvl7pPr marL="2971800" indent="-228600" defTabSz="449263" eaLnBrk="0" fontAlgn="base" hangingPunct="0">
                <a:lnSpc>
                  <a:spcPct val="98000"/>
                </a:lnSpc>
                <a:spcBef>
                  <a:spcPts val="5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Arial" charset="0"/>
                <a:buChar char="•"/>
                <a:defRPr sz="2000">
                  <a:solidFill>
                    <a:srgbClr val="04617B"/>
                  </a:solidFill>
                  <a:latin typeface="Calibri" pitchFamily="34" charset="0"/>
                  <a:ea typeface="Lucida Sans Unicode" pitchFamily="34" charset="0"/>
                  <a:cs typeface="Lucida Sans Unicode" pitchFamily="34" charset="0"/>
                </a:defRPr>
              </a:lvl7pPr>
              <a:lvl8pPr marL="3429000" indent="-228600" defTabSz="449263" eaLnBrk="0" fontAlgn="base" hangingPunct="0">
                <a:lnSpc>
                  <a:spcPct val="98000"/>
                </a:lnSpc>
                <a:spcBef>
                  <a:spcPts val="5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Arial" charset="0"/>
                <a:buChar char="•"/>
                <a:defRPr sz="2000">
                  <a:solidFill>
                    <a:srgbClr val="04617B"/>
                  </a:solidFill>
                  <a:latin typeface="Calibri" pitchFamily="34" charset="0"/>
                  <a:ea typeface="Lucida Sans Unicode" pitchFamily="34" charset="0"/>
                  <a:cs typeface="Lucida Sans Unicode" pitchFamily="34" charset="0"/>
                </a:defRPr>
              </a:lvl8pPr>
              <a:lvl9pPr marL="3886200" indent="-228600" defTabSz="449263" eaLnBrk="0" fontAlgn="base" hangingPunct="0">
                <a:lnSpc>
                  <a:spcPct val="98000"/>
                </a:lnSpc>
                <a:spcBef>
                  <a:spcPts val="5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Arial" charset="0"/>
                <a:buChar char="•"/>
                <a:defRPr sz="2000">
                  <a:solidFill>
                    <a:srgbClr val="04617B"/>
                  </a:solidFill>
                  <a:latin typeface="Calibri" pitchFamily="34" charset="0"/>
                  <a:ea typeface="Lucida Sans Unicode" pitchFamily="34" charset="0"/>
                  <a:cs typeface="Lucida Sans Unicode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 typeface="Times New Roman" pitchFamily="18" charset="0"/>
                <a:buNone/>
              </a:pPr>
              <a:endParaRPr lang="en-US" altLang="en-US" sz="1600">
                <a:solidFill>
                  <a:schemeClr val="bg1"/>
                </a:solidFill>
                <a:latin typeface="Arial" charset="0"/>
              </a:endParaRPr>
            </a:p>
          </p:txBody>
        </p:sp>
        <p:grpSp>
          <p:nvGrpSpPr>
            <p:cNvPr id="47" name="Gruppierung 9"/>
            <p:cNvGrpSpPr>
              <a:grpSpLocks/>
            </p:cNvGrpSpPr>
            <p:nvPr/>
          </p:nvGrpSpPr>
          <p:grpSpPr bwMode="auto">
            <a:xfrm>
              <a:off x="1219201" y="4648200"/>
              <a:ext cx="2667000" cy="457200"/>
              <a:chOff x="860917" y="5562600"/>
              <a:chExt cx="3101483" cy="609600"/>
            </a:xfrm>
          </p:grpSpPr>
          <p:pic>
            <p:nvPicPr>
              <p:cNvPr id="48" name="Picture 24" descr="http://www.broadbandworldforum.com/wp-content/uploads/5441broadband_forum.gif"/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60917" y="5606716"/>
                <a:ext cx="1033622" cy="4352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9" name="Picture 22" descr="http://www.homegatewayinitiative.org/img/logo.jpg"/>
              <p:cNvPicPr>
                <a:picLocks noChangeAspect="1" noChangeArrowheads="1"/>
              </p:cNvPicPr>
              <p:nvPr/>
            </p:nvPicPr>
            <p:blipFill>
              <a:blip r:embed="rId2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81200" y="5715000"/>
                <a:ext cx="609600" cy="2452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0" name="Picture 26" descr="http://www.smarthomes2011.com/Images/OSGi_Alliance_RGB.jpg"/>
              <p:cNvPicPr>
                <a:picLocks noChangeAspect="1" noChangeArrowheads="1"/>
              </p:cNvPicPr>
              <p:nvPr/>
            </p:nvPicPr>
            <p:blipFill>
              <a:blip r:embed="rId2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146917" y="5655731"/>
                <a:ext cx="815483" cy="381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1" name="Picture 28" descr="http://www.onem2m.org/images/oneM2M%20Logo%20C.JPG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61117" y="5562600"/>
                <a:ext cx="641906" cy="6096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cxnSp>
        <p:nvCxnSpPr>
          <p:cNvPr id="3" name="Straight Connector 2"/>
          <p:cNvCxnSpPr>
            <a:stCxn id="10272" idx="0"/>
          </p:cNvCxnSpPr>
          <p:nvPr/>
        </p:nvCxnSpPr>
        <p:spPr bwMode="auto">
          <a:xfrm flipV="1">
            <a:off x="5857875" y="3758406"/>
            <a:ext cx="1599160" cy="823119"/>
          </a:xfrm>
          <a:prstGeom prst="line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" name="Straight Connector 4"/>
          <p:cNvCxnSpPr>
            <a:stCxn id="10272" idx="2"/>
          </p:cNvCxnSpPr>
          <p:nvPr/>
        </p:nvCxnSpPr>
        <p:spPr bwMode="auto">
          <a:xfrm>
            <a:off x="5857875" y="4981575"/>
            <a:ext cx="1599160" cy="265112"/>
          </a:xfrm>
          <a:prstGeom prst="line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Rectangle 10"/>
          <p:cNvSpPr/>
          <p:nvPr/>
        </p:nvSpPr>
        <p:spPr>
          <a:xfrm>
            <a:off x="7271437" y="5339335"/>
            <a:ext cx="173477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altLang="en-US" sz="1100" b="1" dirty="0">
                <a:solidFill>
                  <a:srgbClr val="257A8B"/>
                </a:solidFill>
                <a:latin typeface="Arial" charset="0"/>
              </a:rPr>
              <a:t>Smart Device Template</a:t>
            </a:r>
            <a:endParaRPr lang="en-US" sz="1100" b="1" dirty="0">
              <a:solidFill>
                <a:srgbClr val="257A8B"/>
              </a:solidFill>
              <a:latin typeface="Arial" charset="0"/>
            </a:endParaRPr>
          </a:p>
        </p:txBody>
      </p:sp>
      <p:pic>
        <p:nvPicPr>
          <p:cNvPr id="1048" name="Picture 24" descr="Logo : ECHONET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9798" y="5855908"/>
            <a:ext cx="383422" cy="318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TextBox 43"/>
          <p:cNvSpPr txBox="1">
            <a:spLocks noChangeArrowheads="1"/>
          </p:cNvSpPr>
          <p:nvPr/>
        </p:nvSpPr>
        <p:spPr bwMode="auto">
          <a:xfrm>
            <a:off x="1360054" y="2157452"/>
            <a:ext cx="58221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de-DE" altLang="en-US" sz="1400" b="1" dirty="0" smtClean="0">
                <a:solidFill>
                  <a:srgbClr val="000000"/>
                </a:solidFill>
                <a:latin typeface="Arial" charset="0"/>
              </a:rPr>
              <a:t>2012</a:t>
            </a:r>
          </a:p>
        </p:txBody>
      </p:sp>
      <p:sp>
        <p:nvSpPr>
          <p:cNvPr id="58" name="TextBox 43"/>
          <p:cNvSpPr txBox="1">
            <a:spLocks noChangeArrowheads="1"/>
          </p:cNvSpPr>
          <p:nvPr/>
        </p:nvSpPr>
        <p:spPr bwMode="auto">
          <a:xfrm>
            <a:off x="4123688" y="2164441"/>
            <a:ext cx="58221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de-DE" altLang="en-US" sz="1400" b="1" dirty="0" smtClean="0">
                <a:solidFill>
                  <a:srgbClr val="000000"/>
                </a:solidFill>
                <a:latin typeface="Arial" charset="0"/>
              </a:rPr>
              <a:t>2014</a:t>
            </a:r>
          </a:p>
        </p:txBody>
      </p:sp>
    </p:spTree>
    <p:extLst>
      <p:ext uri="{BB962C8B-B14F-4D97-AF65-F5344CB8AC3E}">
        <p14:creationId xmlns:p14="http://schemas.microsoft.com/office/powerpoint/2010/main" val="3184394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itel 1"/>
          <p:cNvSpPr>
            <a:spLocks noGrp="1"/>
          </p:cNvSpPr>
          <p:nvPr>
            <p:ph type="title"/>
          </p:nvPr>
        </p:nvSpPr>
        <p:spPr>
          <a:xfrm>
            <a:off x="457200" y="404814"/>
            <a:ext cx="8229600" cy="623887"/>
          </a:xfrm>
        </p:spPr>
        <p:txBody>
          <a:bodyPr>
            <a:normAutofit/>
          </a:bodyPr>
          <a:lstStyle/>
          <a:p>
            <a:r>
              <a:rPr lang="en-US" sz="3600" dirty="0"/>
              <a:t>HGI topics </a:t>
            </a:r>
            <a:r>
              <a:rPr lang="en-US" sz="3600" dirty="0" smtClean="0"/>
              <a:t>at TP#19 </a:t>
            </a:r>
            <a:r>
              <a:rPr lang="en-US" sz="3600" dirty="0"/>
              <a:t>and way forward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74598" y="3818964"/>
            <a:ext cx="3560833" cy="2637613"/>
          </a:xfrm>
        </p:spPr>
        <p:txBody>
          <a:bodyPr>
            <a:normAutofit fontScale="32500" lnSpcReduction="20000"/>
          </a:bodyPr>
          <a:lstStyle/>
          <a:p>
            <a:pPr marL="0" indent="0">
              <a:spcBef>
                <a:spcPct val="0"/>
              </a:spcBef>
              <a:spcAft>
                <a:spcPts val="63"/>
              </a:spcAft>
              <a:buClr>
                <a:srgbClr val="FF6600"/>
              </a:buClr>
              <a:buNone/>
              <a:defRPr/>
            </a:pPr>
            <a:r>
              <a:rPr lang="fr-FR" dirty="0" err="1" smtClean="0">
                <a:solidFill>
                  <a:prstClr val="black"/>
                </a:solidFill>
                <a:latin typeface="Helvetica 55 Roman" pitchFamily="34" charset="0"/>
              </a:rPr>
              <a:t>Related</a:t>
            </a:r>
            <a:r>
              <a:rPr lang="fr-FR" dirty="0" smtClean="0">
                <a:solidFill>
                  <a:prstClr val="black"/>
                </a:solidFill>
                <a:latin typeface="Helvetica 55 Roman" pitchFamily="34" charset="0"/>
              </a:rPr>
              <a:t> documents and </a:t>
            </a:r>
            <a:r>
              <a:rPr lang="fr-FR" dirty="0" err="1" smtClean="0">
                <a:solidFill>
                  <a:prstClr val="black"/>
                </a:solidFill>
                <a:latin typeface="Helvetica 55 Roman" pitchFamily="34" charset="0"/>
              </a:rPr>
              <a:t>work</a:t>
            </a:r>
            <a:r>
              <a:rPr lang="fr-FR" dirty="0" smtClean="0">
                <a:solidFill>
                  <a:prstClr val="black"/>
                </a:solidFill>
                <a:latin typeface="Helvetica 55 Roman" pitchFamily="34" charset="0"/>
              </a:rPr>
              <a:t> items:</a:t>
            </a:r>
          </a:p>
          <a:p>
            <a:pPr marL="0" indent="0">
              <a:spcBef>
                <a:spcPct val="0"/>
              </a:spcBef>
              <a:spcAft>
                <a:spcPts val="63"/>
              </a:spcAft>
              <a:buClr>
                <a:srgbClr val="FF6600"/>
              </a:buClr>
              <a:buNone/>
              <a:defRPr/>
            </a:pPr>
            <a:endParaRPr lang="fr-FR" dirty="0">
              <a:solidFill>
                <a:prstClr val="black"/>
              </a:solidFill>
              <a:latin typeface="Helvetica 55 Roman" pitchFamily="34" charset="0"/>
            </a:endParaRPr>
          </a:p>
          <a:p>
            <a:pPr marL="0" indent="0">
              <a:spcBef>
                <a:spcPct val="0"/>
              </a:spcBef>
              <a:spcAft>
                <a:spcPts val="63"/>
              </a:spcAft>
              <a:buClr>
                <a:srgbClr val="FF6600"/>
              </a:buClr>
              <a:buNone/>
              <a:defRPr/>
            </a:pPr>
            <a:r>
              <a:rPr lang="fr-FR" dirty="0" err="1" smtClean="0">
                <a:solidFill>
                  <a:prstClr val="black"/>
                </a:solidFill>
                <a:latin typeface="Helvetica 55 Roman" pitchFamily="34" charset="0"/>
              </a:rPr>
              <a:t>Generic</a:t>
            </a:r>
            <a:endParaRPr lang="fr-FR" dirty="0">
              <a:solidFill>
                <a:prstClr val="black"/>
              </a:solidFill>
              <a:latin typeface="Helvetica 55 Roman" pitchFamily="34" charset="0"/>
            </a:endParaRPr>
          </a:p>
          <a:p>
            <a:pPr marL="193675" indent="-193675">
              <a:spcBef>
                <a:spcPct val="0"/>
              </a:spcBef>
              <a:spcAft>
                <a:spcPts val="63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fr-FR" b="1" dirty="0">
                <a:solidFill>
                  <a:prstClr val="black"/>
                </a:solidFill>
                <a:latin typeface="Helvetica 55 Roman" pitchFamily="34" charset="0"/>
              </a:rPr>
              <a:t>TS-0002</a:t>
            </a:r>
            <a:r>
              <a:rPr lang="fr-FR" dirty="0">
                <a:solidFill>
                  <a:prstClr val="black"/>
                </a:solidFill>
                <a:latin typeface="Helvetica 55 Roman" pitchFamily="34" charset="0"/>
              </a:rPr>
              <a:t> </a:t>
            </a:r>
            <a:r>
              <a:rPr lang="fr-FR" dirty="0" err="1">
                <a:solidFill>
                  <a:prstClr val="black"/>
                </a:solidFill>
                <a:latin typeface="Helvetica 55 Roman" pitchFamily="34" charset="0"/>
              </a:rPr>
              <a:t>Requirements</a:t>
            </a:r>
            <a:r>
              <a:rPr lang="fr-FR" dirty="0">
                <a:solidFill>
                  <a:prstClr val="black"/>
                </a:solidFill>
                <a:latin typeface="Helvetica 55 Roman" pitchFamily="34" charset="0"/>
              </a:rPr>
              <a:t> (WG1 lead)</a:t>
            </a:r>
          </a:p>
          <a:p>
            <a:pPr marL="193675" indent="-193675">
              <a:spcBef>
                <a:spcPct val="0"/>
              </a:spcBef>
              <a:spcAft>
                <a:spcPts val="63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fr-FR" b="1" dirty="0">
                <a:solidFill>
                  <a:prstClr val="black"/>
                </a:solidFill>
                <a:latin typeface="Helvetica 55 Roman" pitchFamily="34" charset="0"/>
              </a:rPr>
              <a:t>TS-0001</a:t>
            </a:r>
            <a:r>
              <a:rPr lang="fr-FR" dirty="0">
                <a:solidFill>
                  <a:prstClr val="black"/>
                </a:solidFill>
                <a:latin typeface="Helvetica 55 Roman" pitchFamily="34" charset="0"/>
              </a:rPr>
              <a:t> </a:t>
            </a:r>
            <a:r>
              <a:rPr lang="fr-FR" dirty="0" err="1">
                <a:solidFill>
                  <a:prstClr val="black"/>
                </a:solidFill>
                <a:latin typeface="Helvetica 55 Roman" pitchFamily="34" charset="0"/>
              </a:rPr>
              <a:t>Functional</a:t>
            </a:r>
            <a:r>
              <a:rPr lang="fr-FR" dirty="0">
                <a:solidFill>
                  <a:prstClr val="black"/>
                </a:solidFill>
                <a:latin typeface="Helvetica 55 Roman" pitchFamily="34" charset="0"/>
              </a:rPr>
              <a:t> Architecture (WG2 lead)</a:t>
            </a:r>
          </a:p>
          <a:p>
            <a:pPr marL="193675" indent="-193675">
              <a:spcBef>
                <a:spcPct val="0"/>
              </a:spcBef>
              <a:spcAft>
                <a:spcPts val="63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fr-FR" b="1" dirty="0">
                <a:solidFill>
                  <a:prstClr val="black"/>
                </a:solidFill>
                <a:latin typeface="Helvetica 55 Roman" pitchFamily="34" charset="0"/>
              </a:rPr>
              <a:t>TS-0004</a:t>
            </a:r>
            <a:r>
              <a:rPr lang="fr-FR" dirty="0">
                <a:solidFill>
                  <a:prstClr val="black"/>
                </a:solidFill>
                <a:latin typeface="Helvetica 55 Roman" pitchFamily="34" charset="0"/>
              </a:rPr>
              <a:t> oneM2M </a:t>
            </a:r>
            <a:r>
              <a:rPr lang="fr-FR" dirty="0" err="1">
                <a:solidFill>
                  <a:prstClr val="black"/>
                </a:solidFill>
                <a:latin typeface="Helvetica 55 Roman" pitchFamily="34" charset="0"/>
              </a:rPr>
              <a:t>Core</a:t>
            </a:r>
            <a:r>
              <a:rPr lang="fr-FR" dirty="0">
                <a:solidFill>
                  <a:prstClr val="black"/>
                </a:solidFill>
                <a:latin typeface="Helvetica 55 Roman" pitchFamily="34" charset="0"/>
              </a:rPr>
              <a:t> </a:t>
            </a:r>
            <a:r>
              <a:rPr lang="fr-FR" dirty="0" err="1">
                <a:solidFill>
                  <a:prstClr val="black"/>
                </a:solidFill>
                <a:latin typeface="Helvetica 55 Roman" pitchFamily="34" charset="0"/>
              </a:rPr>
              <a:t>protocol</a:t>
            </a:r>
            <a:r>
              <a:rPr lang="fr-FR" dirty="0">
                <a:solidFill>
                  <a:prstClr val="black"/>
                </a:solidFill>
                <a:latin typeface="Helvetica 55 Roman" pitchFamily="34" charset="0"/>
              </a:rPr>
              <a:t> (WG3 lead)</a:t>
            </a:r>
          </a:p>
          <a:p>
            <a:pPr marL="193675" indent="-193675">
              <a:spcBef>
                <a:spcPct val="0"/>
              </a:spcBef>
              <a:spcAft>
                <a:spcPts val="63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fr-FR" b="1" dirty="0">
                <a:solidFill>
                  <a:srgbClr val="FF0000"/>
                </a:solidFill>
                <a:latin typeface="Helvetica 55 Roman" pitchFamily="34" charset="0"/>
              </a:rPr>
              <a:t>TR-0007</a:t>
            </a:r>
            <a:r>
              <a:rPr lang="fr-FR" b="1" dirty="0">
                <a:solidFill>
                  <a:srgbClr val="FF6600"/>
                </a:solidFill>
                <a:latin typeface="Helvetica 55 Roman" pitchFamily="34" charset="0"/>
              </a:rPr>
              <a:t> </a:t>
            </a:r>
            <a:r>
              <a:rPr lang="fr-FR" dirty="0">
                <a:solidFill>
                  <a:prstClr val="black"/>
                </a:solidFill>
                <a:latin typeface="Helvetica 55 Roman" pitchFamily="34" charset="0"/>
              </a:rPr>
              <a:t>Abstraction &amp; </a:t>
            </a:r>
            <a:r>
              <a:rPr lang="fr-FR" dirty="0" err="1">
                <a:solidFill>
                  <a:prstClr val="black"/>
                </a:solidFill>
                <a:latin typeface="Helvetica 55 Roman" pitchFamily="34" charset="0"/>
              </a:rPr>
              <a:t>Semantic</a:t>
            </a:r>
            <a:r>
              <a:rPr lang="fr-FR" dirty="0">
                <a:solidFill>
                  <a:prstClr val="black"/>
                </a:solidFill>
                <a:latin typeface="Helvetica 55 Roman" pitchFamily="34" charset="0"/>
              </a:rPr>
              <a:t> (WG5 lead)</a:t>
            </a:r>
          </a:p>
          <a:p>
            <a:pPr marL="0" indent="0">
              <a:spcBef>
                <a:spcPct val="0"/>
              </a:spcBef>
              <a:spcAft>
                <a:spcPts val="63"/>
              </a:spcAft>
              <a:buClr>
                <a:srgbClr val="FF6600"/>
              </a:buClr>
              <a:buNone/>
              <a:defRPr/>
            </a:pPr>
            <a:endParaRPr lang="fr-FR" dirty="0">
              <a:solidFill>
                <a:prstClr val="black"/>
              </a:solidFill>
              <a:latin typeface="Helvetica 55 Roman" pitchFamily="34" charset="0"/>
            </a:endParaRPr>
          </a:p>
          <a:p>
            <a:pPr marL="0" indent="0">
              <a:spcBef>
                <a:spcPct val="0"/>
              </a:spcBef>
              <a:spcAft>
                <a:spcPts val="63"/>
              </a:spcAft>
              <a:buClr>
                <a:srgbClr val="FF6600"/>
              </a:buClr>
              <a:buNone/>
              <a:defRPr/>
            </a:pPr>
            <a:r>
              <a:rPr lang="fr-FR" dirty="0">
                <a:solidFill>
                  <a:prstClr val="black"/>
                </a:solidFill>
                <a:latin typeface="Helvetica 55 Roman" pitchFamily="34" charset="0"/>
              </a:rPr>
              <a:t>Smart Home </a:t>
            </a:r>
            <a:r>
              <a:rPr lang="fr-FR" dirty="0" err="1">
                <a:solidFill>
                  <a:prstClr val="black"/>
                </a:solidFill>
                <a:latin typeface="Helvetica 55 Roman" pitchFamily="34" charset="0"/>
              </a:rPr>
              <a:t>domain</a:t>
            </a:r>
            <a:endParaRPr lang="fr-FR" dirty="0">
              <a:solidFill>
                <a:prstClr val="black"/>
              </a:solidFill>
              <a:latin typeface="Helvetica 55 Roman" pitchFamily="34" charset="0"/>
            </a:endParaRPr>
          </a:p>
          <a:p>
            <a:pPr marL="193675" indent="-193675">
              <a:spcBef>
                <a:spcPct val="0"/>
              </a:spcBef>
              <a:spcAft>
                <a:spcPts val="63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fr-FR" b="1" dirty="0">
                <a:solidFill>
                  <a:srgbClr val="FF0000"/>
                </a:solidFill>
                <a:latin typeface="Helvetica 55 Roman" pitchFamily="34" charset="0"/>
              </a:rPr>
              <a:t>TR-0013</a:t>
            </a:r>
            <a:r>
              <a:rPr lang="fr-FR" dirty="0">
                <a:solidFill>
                  <a:srgbClr val="FF0000"/>
                </a:solidFill>
                <a:latin typeface="Helvetica 55 Roman" pitchFamily="34" charset="0"/>
              </a:rPr>
              <a:t> </a:t>
            </a:r>
            <a:r>
              <a:rPr lang="fr-FR" dirty="0">
                <a:solidFill>
                  <a:prstClr val="black"/>
                </a:solidFill>
                <a:latin typeface="Helvetica 55 Roman" pitchFamily="34" charset="0"/>
              </a:rPr>
              <a:t>Home Domain </a:t>
            </a:r>
            <a:r>
              <a:rPr lang="fr-FR" dirty="0" err="1">
                <a:solidFill>
                  <a:prstClr val="black"/>
                </a:solidFill>
                <a:latin typeface="Helvetica 55 Roman" pitchFamily="34" charset="0"/>
              </a:rPr>
              <a:t>enablement</a:t>
            </a:r>
            <a:r>
              <a:rPr lang="fr-FR" dirty="0">
                <a:solidFill>
                  <a:prstClr val="black"/>
                </a:solidFill>
                <a:latin typeface="Helvetica 55 Roman" pitchFamily="34" charset="0"/>
              </a:rPr>
              <a:t> (WG1 lead)</a:t>
            </a:r>
          </a:p>
          <a:p>
            <a:pPr marL="193675" indent="-193675">
              <a:spcBef>
                <a:spcPct val="0"/>
              </a:spcBef>
              <a:spcAft>
                <a:spcPts val="63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fr-FR" b="1" dirty="0">
                <a:solidFill>
                  <a:srgbClr val="FF0000"/>
                </a:solidFill>
                <a:latin typeface="Helvetica 55 Roman" pitchFamily="34" charset="0"/>
              </a:rPr>
              <a:t>TR-0017</a:t>
            </a:r>
            <a:r>
              <a:rPr lang="fr-FR" dirty="0">
                <a:solidFill>
                  <a:prstClr val="black"/>
                </a:solidFill>
                <a:latin typeface="Helvetica 55 Roman" pitchFamily="34" charset="0"/>
              </a:rPr>
              <a:t> Home Information Abstract Model (WG5 lead</a:t>
            </a:r>
            <a:r>
              <a:rPr lang="fr-FR" dirty="0" smtClean="0">
                <a:solidFill>
                  <a:prstClr val="black"/>
                </a:solidFill>
                <a:latin typeface="Helvetica 55 Roman" pitchFamily="34" charset="0"/>
              </a:rPr>
              <a:t>)</a:t>
            </a:r>
          </a:p>
          <a:p>
            <a:pPr marL="193675" indent="-193675">
              <a:spcBef>
                <a:spcPct val="0"/>
              </a:spcBef>
              <a:spcAft>
                <a:spcPts val="63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fr-FR" sz="3100" b="1" dirty="0">
                <a:solidFill>
                  <a:srgbClr val="FF0000"/>
                </a:solidFill>
                <a:latin typeface="Helvetica 55 Roman" pitchFamily="34" charset="0"/>
              </a:rPr>
              <a:t>TR-0022</a:t>
            </a:r>
            <a:r>
              <a:rPr lang="fr-FR" dirty="0" smtClean="0">
                <a:solidFill>
                  <a:prstClr val="black"/>
                </a:solidFill>
                <a:latin typeface="Helvetica 55 Roman" pitchFamily="34" charset="0"/>
              </a:rPr>
              <a:t> Continuation &amp; </a:t>
            </a:r>
            <a:r>
              <a:rPr lang="fr-FR" dirty="0" err="1" smtClean="0">
                <a:solidFill>
                  <a:prstClr val="black"/>
                </a:solidFill>
                <a:latin typeface="Helvetica 55 Roman" pitchFamily="34" charset="0"/>
              </a:rPr>
              <a:t>Integration</a:t>
            </a:r>
            <a:r>
              <a:rPr lang="fr-FR" dirty="0" smtClean="0">
                <a:solidFill>
                  <a:prstClr val="black"/>
                </a:solidFill>
                <a:latin typeface="Helvetica 55 Roman" pitchFamily="34" charset="0"/>
              </a:rPr>
              <a:t> of HGI SH </a:t>
            </a:r>
            <a:r>
              <a:rPr lang="fr-FR" dirty="0" err="1" smtClean="0">
                <a:solidFill>
                  <a:prstClr val="black"/>
                </a:solidFill>
                <a:latin typeface="Helvetica 55 Roman" pitchFamily="34" charset="0"/>
              </a:rPr>
              <a:t>activities</a:t>
            </a:r>
            <a:endParaRPr lang="fr-FR" dirty="0" smtClean="0">
              <a:solidFill>
                <a:prstClr val="black"/>
              </a:solidFill>
              <a:latin typeface="Helvetica 55 Roman" pitchFamily="34" charset="0"/>
            </a:endParaRPr>
          </a:p>
          <a:p>
            <a:pPr marL="193675" indent="-193675">
              <a:spcBef>
                <a:spcPct val="0"/>
              </a:spcBef>
              <a:spcAft>
                <a:spcPts val="63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fr-FR" sz="3100" b="1" dirty="0" smtClean="0">
                <a:solidFill>
                  <a:srgbClr val="FF0000"/>
                </a:solidFill>
                <a:latin typeface="Helvetica 55 Roman" pitchFamily="34" charset="0"/>
              </a:rPr>
              <a:t>TS-00xx </a:t>
            </a:r>
            <a:r>
              <a:rPr lang="fr-FR" dirty="0" smtClean="0">
                <a:solidFill>
                  <a:prstClr val="black"/>
                </a:solidFill>
                <a:latin typeface="Helvetica 55 Roman" pitchFamily="34" charset="0"/>
              </a:rPr>
              <a:t>Home Appliance Information Model and </a:t>
            </a:r>
            <a:r>
              <a:rPr lang="fr-FR" dirty="0" err="1" smtClean="0">
                <a:solidFill>
                  <a:prstClr val="black"/>
                </a:solidFill>
                <a:latin typeface="Helvetica 55 Roman" pitchFamily="34" charset="0"/>
              </a:rPr>
              <a:t>Mapping</a:t>
            </a:r>
            <a:endParaRPr lang="fr-FR" dirty="0">
              <a:solidFill>
                <a:prstClr val="black"/>
              </a:solidFill>
              <a:latin typeface="Helvetica 55 Roman" pitchFamily="34" charset="0"/>
            </a:endParaRPr>
          </a:p>
          <a:p>
            <a:pPr marL="193675" indent="-193675">
              <a:spcBef>
                <a:spcPct val="0"/>
              </a:spcBef>
              <a:spcAft>
                <a:spcPts val="63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en-US" dirty="0">
                <a:solidFill>
                  <a:srgbClr val="00B050"/>
                </a:solidFill>
              </a:rPr>
              <a:t>WI-0017: </a:t>
            </a:r>
            <a:r>
              <a:rPr lang="en-US" dirty="0"/>
              <a:t>Home Domain Enablement</a:t>
            </a:r>
            <a:br>
              <a:rPr lang="en-US" dirty="0"/>
            </a:br>
            <a:r>
              <a:rPr lang="en-US" dirty="0">
                <a:solidFill>
                  <a:srgbClr val="00B050"/>
                </a:solidFill>
              </a:rPr>
              <a:t>WI-0043</a:t>
            </a:r>
            <a:r>
              <a:rPr lang="en-US" dirty="0"/>
              <a:t>: Continuation &amp; Integration of HGI Smart Home activities</a:t>
            </a:r>
            <a:endParaRPr lang="fr-FR" dirty="0" smtClean="0">
              <a:solidFill>
                <a:prstClr val="black"/>
              </a:solidFill>
              <a:latin typeface="Helvetica 55 Roman" pitchFamily="34" charset="0"/>
            </a:endParaRPr>
          </a:p>
          <a:p>
            <a:pPr marL="193675" indent="-193675">
              <a:spcBef>
                <a:spcPct val="0"/>
              </a:spcBef>
              <a:spcAft>
                <a:spcPts val="63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endParaRPr lang="fr-FR" dirty="0">
              <a:solidFill>
                <a:prstClr val="black"/>
              </a:solidFill>
              <a:latin typeface="Helvetica 55 Roman" pitchFamily="34" charset="0"/>
            </a:endParaRPr>
          </a:p>
          <a:p>
            <a:pPr marL="193675" indent="-193675">
              <a:spcBef>
                <a:spcPct val="0"/>
              </a:spcBef>
              <a:spcAft>
                <a:spcPts val="63"/>
              </a:spcAft>
              <a:buClr>
                <a:srgbClr val="C00000"/>
              </a:buClr>
              <a:buFont typeface="Wingdings" pitchFamily="2" charset="2"/>
              <a:buChar char="§"/>
              <a:defRPr/>
            </a:pPr>
            <a:r>
              <a:rPr lang="fr-FR" b="1" dirty="0" smtClean="0">
                <a:solidFill>
                  <a:prstClr val="black"/>
                </a:solidFill>
                <a:latin typeface="Helvetica 55 Roman" pitchFamily="34" charset="0"/>
              </a:rPr>
              <a:t>TS-0012</a:t>
            </a:r>
            <a:r>
              <a:rPr lang="fr-FR" dirty="0" smtClean="0">
                <a:solidFill>
                  <a:prstClr val="black"/>
                </a:solidFill>
                <a:latin typeface="Helvetica 55 Roman" pitchFamily="34" charset="0"/>
              </a:rPr>
              <a:t> </a:t>
            </a:r>
            <a:r>
              <a:rPr lang="fr-FR" dirty="0">
                <a:solidFill>
                  <a:prstClr val="black"/>
                </a:solidFill>
                <a:latin typeface="Helvetica 55 Roman" pitchFamily="34" charset="0"/>
              </a:rPr>
              <a:t>oneM2M </a:t>
            </a:r>
            <a:r>
              <a:rPr lang="fr-FR" dirty="0" err="1">
                <a:solidFill>
                  <a:prstClr val="black"/>
                </a:solidFill>
                <a:latin typeface="Helvetica 55 Roman" pitchFamily="34" charset="0"/>
              </a:rPr>
              <a:t>Ontology</a:t>
            </a:r>
            <a:r>
              <a:rPr lang="fr-FR" dirty="0">
                <a:solidFill>
                  <a:prstClr val="black"/>
                </a:solidFill>
                <a:latin typeface="Helvetica 55 Roman" pitchFamily="34" charset="0"/>
              </a:rPr>
              <a:t> (WG5 lead)</a:t>
            </a:r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en-US" dirty="0"/>
          </a:p>
        </p:txBody>
      </p:sp>
      <p:graphicFrame>
        <p:nvGraphicFramePr>
          <p:cNvPr id="4" name="Espace réservé du contenu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2609523"/>
              </p:ext>
            </p:extLst>
          </p:nvPr>
        </p:nvGraphicFramePr>
        <p:xfrm>
          <a:off x="374598" y="1221762"/>
          <a:ext cx="8458200" cy="24687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41109"/>
                <a:gridCol w="3297691"/>
                <a:gridCol w="2819400"/>
              </a:tblGrid>
              <a:tr h="461042"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HGI Deliverables</a:t>
                      </a:r>
                    </a:p>
                    <a:p>
                      <a:pPr algn="ctr"/>
                      <a:endParaRPr lang="en-US" sz="1800" noProof="0" dirty="0"/>
                    </a:p>
                  </a:txBody>
                  <a:tcPr marT="45709" marB="4570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Relation to oneM2M</a:t>
                      </a:r>
                      <a:endParaRPr lang="en-US" sz="1800" noProof="0" dirty="0"/>
                    </a:p>
                  </a:txBody>
                  <a:tcPr marT="45709" marB="4570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Status of HGI deliverable</a:t>
                      </a:r>
                      <a:endParaRPr lang="en-US" sz="1800" noProof="0" dirty="0"/>
                    </a:p>
                  </a:txBody>
                  <a:tcPr marT="45709" marB="45709"/>
                </a:tc>
              </a:tr>
              <a:tr h="64000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noProof="0" dirty="0" smtClean="0"/>
                        <a:t>HGI-RWD036 </a:t>
                      </a:r>
                      <a:r>
                        <a:rPr lang="en-US" sz="1800" noProof="0" dirty="0" smtClean="0"/>
                        <a:t>S</a:t>
                      </a:r>
                      <a:r>
                        <a:rPr lang="en-US" sz="1800" baseline="0" noProof="0" dirty="0" smtClean="0"/>
                        <a:t>H Architecture</a:t>
                      </a:r>
                      <a:endParaRPr lang="en-US" sz="1800" noProof="0" dirty="0" smtClean="0"/>
                    </a:p>
                  </a:txBody>
                  <a:tcPr marT="45709" marB="45709"/>
                </a:tc>
                <a:tc>
                  <a:txBody>
                    <a:bodyPr/>
                    <a:lstStyle/>
                    <a:p>
                      <a:r>
                        <a:rPr lang="en-US" sz="1800" noProof="0" dirty="0" smtClean="0"/>
                        <a:t> 1. Abstraction</a:t>
                      </a:r>
                      <a:r>
                        <a:rPr lang="en-US" sz="1800" baseline="0" noProof="0" dirty="0" smtClean="0"/>
                        <a:t> layer</a:t>
                      </a:r>
                      <a:endParaRPr lang="en-US" sz="1800" noProof="0" dirty="0"/>
                    </a:p>
                  </a:txBody>
                  <a:tcPr marT="45709" marB="45709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aseline="0" noProof="0" dirty="0" smtClean="0"/>
                        <a:t>Publication : Q3-2015 </a:t>
                      </a:r>
                      <a:br>
                        <a:rPr lang="en-US" sz="1800" baseline="0" noProof="0" dirty="0" smtClean="0"/>
                      </a:br>
                      <a:r>
                        <a:rPr lang="en-US" sz="1800" baseline="0" noProof="0" dirty="0" smtClean="0"/>
                        <a:t>liaised to oneM2M</a:t>
                      </a:r>
                      <a:endParaRPr lang="en-US" sz="1800" noProof="0" dirty="0" smtClean="0"/>
                    </a:p>
                  </a:txBody>
                  <a:tcPr marT="45709" marB="45709"/>
                </a:tc>
              </a:tr>
              <a:tr h="370752">
                <a:tc>
                  <a:txBody>
                    <a:bodyPr/>
                    <a:lstStyle/>
                    <a:p>
                      <a:endParaRPr lang="en-US" sz="1800" noProof="0" dirty="0"/>
                    </a:p>
                  </a:txBody>
                  <a:tcPr marT="45709" marB="45709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 smtClean="0"/>
                        <a:t> 2. Reference Points, APIs</a:t>
                      </a:r>
                    </a:p>
                  </a:txBody>
                  <a:tcPr marT="45709" marB="45709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aseline="0" noProof="0" dirty="0" smtClean="0">
                          <a:solidFill>
                            <a:srgbClr val="FF0000"/>
                          </a:solidFill>
                        </a:rPr>
                        <a:t> </a:t>
                      </a:r>
                      <a:r>
                        <a:rPr lang="en-US" sz="1000" baseline="0" noProof="0" dirty="0" smtClean="0">
                          <a:solidFill>
                            <a:srgbClr val="FF0000"/>
                          </a:solidFill>
                        </a:rPr>
                        <a:t>MAS-2015-0637-HGI-RWD036_-_Smart_Home_Architechture ….</a:t>
                      </a:r>
                      <a:endParaRPr lang="en-US" sz="1000" noProof="0" dirty="0" smtClean="0">
                        <a:solidFill>
                          <a:srgbClr val="FF0000"/>
                        </a:solidFill>
                      </a:endParaRPr>
                    </a:p>
                  </a:txBody>
                  <a:tcPr marT="45709" marB="45709"/>
                </a:tc>
              </a:tr>
              <a:tr h="640004">
                <a:tc>
                  <a:txBody>
                    <a:bodyPr/>
                    <a:lstStyle/>
                    <a:p>
                      <a:r>
                        <a:rPr lang="en-US" sz="1800" b="1" noProof="0" dirty="0" smtClean="0"/>
                        <a:t>SDT</a:t>
                      </a:r>
                      <a:r>
                        <a:rPr lang="en-US" sz="1800" baseline="0" noProof="0" dirty="0" smtClean="0"/>
                        <a:t> Smart Device Template</a:t>
                      </a:r>
                      <a:endParaRPr lang="en-US" sz="1800" noProof="0" dirty="0"/>
                    </a:p>
                  </a:txBody>
                  <a:tcPr marT="45709" marB="45709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 smtClean="0"/>
                        <a:t> 3. Home Domain</a:t>
                      </a:r>
                      <a:r>
                        <a:rPr lang="en-US" sz="1800" baseline="0" noProof="0" dirty="0" smtClean="0"/>
                        <a:t> Abstract Information Model</a:t>
                      </a:r>
                      <a:endParaRPr lang="en-US" sz="1800" noProof="0" dirty="0" smtClean="0"/>
                    </a:p>
                  </a:txBody>
                  <a:tcPr marT="45709" marB="45709"/>
                </a:tc>
                <a:tc>
                  <a:txBody>
                    <a:bodyPr/>
                    <a:lstStyle/>
                    <a:p>
                      <a:r>
                        <a:rPr lang="en-US" sz="1800" noProof="0" dirty="0" smtClean="0">
                          <a:solidFill>
                            <a:schemeClr val="tx1"/>
                          </a:solidFill>
                        </a:rPr>
                        <a:t>SDT 2.0 available on GitHub;</a:t>
                      </a:r>
                    </a:p>
                    <a:p>
                      <a:r>
                        <a:rPr lang="en-US" sz="1800" noProof="0" dirty="0" smtClean="0">
                          <a:solidFill>
                            <a:schemeClr val="tx1"/>
                          </a:solidFill>
                        </a:rPr>
                        <a:t>SDT 3.0 planned for Nov. ’15</a:t>
                      </a:r>
                    </a:p>
                    <a:p>
                      <a:r>
                        <a:rPr lang="en-US" sz="1000" kern="1200" baseline="0" noProof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MAS-2015-0635-HGI_oneM2M_Presentation_SDT</a:t>
                      </a:r>
                    </a:p>
                  </a:txBody>
                  <a:tcPr marT="45709" marB="45709"/>
                </a:tc>
              </a:tr>
            </a:tbl>
          </a:graphicData>
        </a:graphic>
      </p:graphicFrame>
      <p:cxnSp>
        <p:nvCxnSpPr>
          <p:cNvPr id="5" name="Connecteur droit avec flèche 8"/>
          <p:cNvCxnSpPr/>
          <p:nvPr/>
        </p:nvCxnSpPr>
        <p:spPr>
          <a:xfrm>
            <a:off x="2279598" y="2078630"/>
            <a:ext cx="53340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Connecteur droit avec flèche 11"/>
          <p:cNvCxnSpPr/>
          <p:nvPr/>
        </p:nvCxnSpPr>
        <p:spPr>
          <a:xfrm>
            <a:off x="2279598" y="2231030"/>
            <a:ext cx="457200" cy="3810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13"/>
          <p:cNvCxnSpPr/>
          <p:nvPr/>
        </p:nvCxnSpPr>
        <p:spPr>
          <a:xfrm>
            <a:off x="2279598" y="3069230"/>
            <a:ext cx="53340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5430" y="3760669"/>
            <a:ext cx="4966524" cy="2909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3763181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HGI topics at TP#19 and way forwar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3550024"/>
            <a:ext cx="8229600" cy="2199623"/>
          </a:xfrm>
        </p:spPr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de-DE" dirty="0" err="1" smtClean="0"/>
              <a:t>Finalisat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SDT 3.0 - </a:t>
            </a:r>
            <a:r>
              <a:rPr lang="de-DE" dirty="0" err="1" smtClean="0"/>
              <a:t>ready</a:t>
            </a:r>
            <a:r>
              <a:rPr lang="de-DE" dirty="0" smtClean="0"/>
              <a:t> </a:t>
            </a:r>
            <a:r>
              <a:rPr lang="de-DE" dirty="0" err="1" smtClean="0"/>
              <a:t>before</a:t>
            </a:r>
            <a:r>
              <a:rPr lang="de-DE" dirty="0" smtClean="0"/>
              <a:t> </a:t>
            </a:r>
            <a:r>
              <a:rPr lang="de-DE" dirty="0" smtClean="0"/>
              <a:t>TP#20</a:t>
            </a:r>
          </a:p>
          <a:p>
            <a:pPr lvl="1"/>
            <a:r>
              <a:rPr lang="de-DE" dirty="0" smtClean="0"/>
              <a:t>SDT – open </a:t>
            </a:r>
            <a:r>
              <a:rPr lang="de-DE" dirty="0" err="1" smtClean="0"/>
              <a:t>source</a:t>
            </a:r>
            <a:r>
              <a:rPr lang="de-DE" dirty="0" smtClean="0"/>
              <a:t> </a:t>
            </a:r>
            <a:r>
              <a:rPr lang="de-DE" dirty="0" err="1" smtClean="0"/>
              <a:t>licence</a:t>
            </a:r>
            <a:r>
              <a:rPr lang="de-DE" dirty="0" smtClean="0"/>
              <a:t> </a:t>
            </a:r>
            <a:r>
              <a:rPr lang="de-DE" dirty="0" err="1" smtClean="0"/>
              <a:t>chosen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nable</a:t>
            </a:r>
            <a:r>
              <a:rPr lang="de-DE" dirty="0" smtClean="0"/>
              <a:t> </a:t>
            </a:r>
            <a:r>
              <a:rPr lang="de-DE" dirty="0" err="1" smtClean="0"/>
              <a:t>joint</a:t>
            </a:r>
            <a:r>
              <a:rPr lang="de-DE" dirty="0" smtClean="0"/>
              <a:t> </a:t>
            </a:r>
            <a:r>
              <a:rPr lang="de-DE" dirty="0" err="1" smtClean="0"/>
              <a:t>development</a:t>
            </a:r>
            <a:r>
              <a:rPr lang="de-DE" dirty="0" smtClean="0"/>
              <a:t> and </a:t>
            </a:r>
            <a:r>
              <a:rPr lang="de-DE" dirty="0" err="1" smtClean="0"/>
              <a:t>usage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emplate</a:t>
            </a:r>
            <a:endParaRPr lang="de-DE" dirty="0"/>
          </a:p>
          <a:p>
            <a:pPr lvl="1"/>
            <a:r>
              <a:rPr lang="de-DE" dirty="0" smtClean="0"/>
              <a:t>Close </a:t>
            </a:r>
            <a:r>
              <a:rPr lang="de-DE" dirty="0" err="1" smtClean="0"/>
              <a:t>interaction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Eclipse</a:t>
            </a:r>
            <a:r>
              <a:rPr lang="de-DE" dirty="0" smtClean="0"/>
              <a:t> </a:t>
            </a:r>
            <a:r>
              <a:rPr lang="de-DE" dirty="0" err="1" smtClean="0"/>
              <a:t>IoT</a:t>
            </a:r>
            <a:r>
              <a:rPr lang="de-DE" dirty="0" smtClean="0"/>
              <a:t> </a:t>
            </a:r>
            <a:r>
              <a:rPr lang="de-DE" dirty="0" err="1" smtClean="0"/>
              <a:t>projects</a:t>
            </a:r>
            <a:r>
              <a:rPr lang="de-DE" dirty="0" smtClean="0"/>
              <a:t> „</a:t>
            </a:r>
            <a:r>
              <a:rPr lang="de-DE" dirty="0" err="1" smtClean="0"/>
              <a:t>Eclipse</a:t>
            </a:r>
            <a:r>
              <a:rPr lang="de-DE" dirty="0" smtClean="0"/>
              <a:t> Smart Home“, „</a:t>
            </a:r>
            <a:r>
              <a:rPr lang="de-DE" dirty="0" err="1" smtClean="0"/>
              <a:t>Vorto</a:t>
            </a:r>
            <a:r>
              <a:rPr lang="de-DE" dirty="0" smtClean="0"/>
              <a:t>“ and </a:t>
            </a:r>
            <a:r>
              <a:rPr lang="de-DE" dirty="0" err="1" smtClean="0"/>
              <a:t>the</a:t>
            </a:r>
            <a:r>
              <a:rPr lang="de-DE" dirty="0" smtClean="0"/>
              <a:t> OSGi </a:t>
            </a:r>
            <a:r>
              <a:rPr lang="de-DE" dirty="0" err="1" smtClean="0"/>
              <a:t>Alliance‘s</a:t>
            </a:r>
            <a:r>
              <a:rPr lang="de-DE" dirty="0" smtClean="0"/>
              <a:t> </a:t>
            </a:r>
            <a:r>
              <a:rPr lang="de-DE" dirty="0" err="1" smtClean="0"/>
              <a:t>IoT</a:t>
            </a:r>
            <a:r>
              <a:rPr lang="de-DE" dirty="0" smtClean="0"/>
              <a:t> Expert Group</a:t>
            </a:r>
          </a:p>
          <a:p>
            <a:pPr marL="0" indent="0">
              <a:buNone/>
            </a:pPr>
            <a:endParaRPr lang="de-DE" dirty="0"/>
          </a:p>
          <a:p>
            <a:endParaRPr lang="en-US" dirty="0"/>
          </a:p>
        </p:txBody>
      </p:sp>
      <p:graphicFrame>
        <p:nvGraphicFramePr>
          <p:cNvPr id="4" name="Espace réservé du contenu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07553075"/>
              </p:ext>
            </p:extLst>
          </p:nvPr>
        </p:nvGraphicFramePr>
        <p:xfrm>
          <a:off x="374598" y="1221762"/>
          <a:ext cx="8458200" cy="192017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41109"/>
                <a:gridCol w="3297691"/>
                <a:gridCol w="2819400"/>
              </a:tblGrid>
              <a:tr h="461042"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HGI Deliverables</a:t>
                      </a:r>
                    </a:p>
                    <a:p>
                      <a:pPr algn="ctr"/>
                      <a:endParaRPr lang="en-US" sz="1800" noProof="0" dirty="0"/>
                    </a:p>
                  </a:txBody>
                  <a:tcPr marT="45709" marB="4570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IPR Regime</a:t>
                      </a:r>
                      <a:endParaRPr lang="en-US" sz="1800" noProof="0" dirty="0"/>
                    </a:p>
                  </a:txBody>
                  <a:tcPr marT="45709" marB="4570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Hosted</a:t>
                      </a:r>
                      <a:endParaRPr lang="en-US" sz="1800" noProof="0" dirty="0"/>
                    </a:p>
                  </a:txBody>
                  <a:tcPr marT="45709" marB="45709"/>
                </a:tc>
              </a:tr>
              <a:tr h="64000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noProof="0" dirty="0" smtClean="0"/>
                        <a:t>HGI-RWD036 </a:t>
                      </a:r>
                      <a:r>
                        <a:rPr lang="en-US" sz="1800" noProof="0" dirty="0" smtClean="0"/>
                        <a:t>S</a:t>
                      </a:r>
                      <a:r>
                        <a:rPr lang="en-US" sz="1800" baseline="0" noProof="0" dirty="0" smtClean="0"/>
                        <a:t>H Architecture</a:t>
                      </a:r>
                      <a:endParaRPr lang="en-US" sz="1800" noProof="0" dirty="0" smtClean="0"/>
                    </a:p>
                  </a:txBody>
                  <a:tcPr marT="45709" marB="45709"/>
                </a:tc>
                <a:tc>
                  <a:txBody>
                    <a:bodyPr/>
                    <a:lstStyle/>
                    <a:p>
                      <a:r>
                        <a:rPr lang="en-US" sz="1800" noProof="0" dirty="0" smtClean="0"/>
                        <a:t> HGI</a:t>
                      </a:r>
                      <a:r>
                        <a:rPr lang="en-US" sz="1800" baseline="0" noProof="0" dirty="0" smtClean="0"/>
                        <a:t> FRAND </a:t>
                      </a:r>
                      <a:r>
                        <a:rPr lang="en-US" sz="1800" baseline="0" noProof="0" dirty="0" err="1" smtClean="0"/>
                        <a:t>licence</a:t>
                      </a:r>
                      <a:r>
                        <a:rPr lang="en-US" sz="1800" baseline="0" noProof="0" dirty="0" smtClean="0"/>
                        <a:t> scheme</a:t>
                      </a:r>
                      <a:endParaRPr lang="en-US" sz="1800" noProof="0" dirty="0"/>
                    </a:p>
                  </a:txBody>
                  <a:tcPr marT="45709" marB="45709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aseline="0" noProof="0" dirty="0" smtClean="0"/>
                        <a:t>HGI document server</a:t>
                      </a:r>
                      <a:endParaRPr lang="en-US" sz="1800" noProof="0" dirty="0" smtClean="0"/>
                    </a:p>
                  </a:txBody>
                  <a:tcPr marT="45709" marB="45709"/>
                </a:tc>
              </a:tr>
              <a:tr h="640004">
                <a:tc>
                  <a:txBody>
                    <a:bodyPr/>
                    <a:lstStyle/>
                    <a:p>
                      <a:r>
                        <a:rPr lang="en-US" sz="1800" b="1" noProof="0" dirty="0" smtClean="0"/>
                        <a:t>SDT</a:t>
                      </a:r>
                      <a:r>
                        <a:rPr lang="en-US" sz="1800" baseline="0" noProof="0" dirty="0" smtClean="0"/>
                        <a:t> Smart Device Template</a:t>
                      </a:r>
                      <a:endParaRPr lang="en-US" sz="1800" noProof="0" dirty="0"/>
                    </a:p>
                  </a:txBody>
                  <a:tcPr marT="45709" marB="45709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 smtClean="0"/>
                        <a:t>Apache 2.0 open source </a:t>
                      </a:r>
                      <a:r>
                        <a:rPr lang="en-US" sz="1800" noProof="0" dirty="0" err="1" smtClean="0"/>
                        <a:t>licence</a:t>
                      </a:r>
                      <a:endParaRPr lang="en-US" sz="1800" noProof="0" dirty="0" smtClean="0"/>
                    </a:p>
                  </a:txBody>
                  <a:tcPr marT="45709" marB="45709"/>
                </a:tc>
                <a:tc>
                  <a:txBody>
                    <a:bodyPr/>
                    <a:lstStyle/>
                    <a:p>
                      <a:r>
                        <a:rPr lang="en-US" sz="1800" noProof="0" dirty="0" err="1" smtClean="0">
                          <a:solidFill>
                            <a:schemeClr val="tx1"/>
                          </a:solidFill>
                        </a:rPr>
                        <a:t>Github</a:t>
                      </a:r>
                      <a:endParaRPr lang="en-US" sz="1000" kern="1200" baseline="0" noProof="0" dirty="0" smtClean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09" marB="45709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84085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419" y="159661"/>
            <a:ext cx="8636324" cy="6072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8055429" y="1652457"/>
            <a:ext cx="943429" cy="36933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b="1" dirty="0" smtClean="0"/>
              <a:t>March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497166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380" y="2863075"/>
            <a:ext cx="7772400" cy="1470025"/>
          </a:xfrm>
        </p:spPr>
        <p:txBody>
          <a:bodyPr>
            <a:normAutofit/>
          </a:bodyPr>
          <a:lstStyle/>
          <a:p>
            <a:r>
              <a:rPr lang="en-GB" sz="3600" b="1" dirty="0" smtClean="0"/>
              <a:t>Thank you!</a:t>
            </a:r>
            <a:endParaRPr lang="en-US" sz="3100" i="1" dirty="0"/>
          </a:p>
        </p:txBody>
      </p:sp>
    </p:spTree>
    <p:extLst>
      <p:ext uri="{BB962C8B-B14F-4D97-AF65-F5344CB8AC3E}">
        <p14:creationId xmlns:p14="http://schemas.microsoft.com/office/powerpoint/2010/main" val="3586044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Design">
  <a:themeElements>
    <a:clrScheme name="HGI">
      <a:dk1>
        <a:sysClr val="windowText" lastClr="000000"/>
      </a:dk1>
      <a:lt1>
        <a:sysClr val="window" lastClr="FFFFFF"/>
      </a:lt1>
      <a:dk2>
        <a:srgbClr val="197FA0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40</Words>
  <Application>Microsoft Office PowerPoint</Application>
  <PresentationFormat>On-screen Show (4:3)</PresentationFormat>
  <Paragraphs>101</Paragraphs>
  <Slides>9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1" baseType="lpstr">
      <vt:lpstr>Office-Design</vt:lpstr>
      <vt:lpstr>think-cell Slide</vt:lpstr>
      <vt:lpstr>HGI Message to oneM2M Technical Plenary</vt:lpstr>
      <vt:lpstr>“HGI to conclude its work by 2016” </vt:lpstr>
      <vt:lpstr>HGI‘s role in the ecosystem and relation to oneM2M</vt:lpstr>
      <vt:lpstr>PowerPoint Presentation</vt:lpstr>
      <vt:lpstr>The HGI way to smart home Collaborative Approaches  </vt:lpstr>
      <vt:lpstr>HGI topics at TP#19 and way forward</vt:lpstr>
      <vt:lpstr>HGI topics at TP#19 and way forward</vt:lpstr>
      <vt:lpstr>PowerPoint Presentation</vt:lpstr>
      <vt:lpstr>Thank you!</vt:lpstr>
    </vt:vector>
  </TitlesOfParts>
  <Company>HGI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ndards for Smart Home Application Developers</dc:title>
  <dc:creator>Andreas Sayegh</dc:creator>
  <cp:lastModifiedBy>bitzer.hans-werner</cp:lastModifiedBy>
  <cp:revision>245</cp:revision>
  <cp:lastPrinted>2015-04-29T13:13:38Z</cp:lastPrinted>
  <dcterms:created xsi:type="dcterms:W3CDTF">2014-01-14T10:17:15Z</dcterms:created>
  <dcterms:modified xsi:type="dcterms:W3CDTF">2015-09-07T07:22:51Z</dcterms:modified>
</cp:coreProperties>
</file>